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48" r:id="rId1"/>
    <p:sldMasterId id="2147483672" r:id="rId2"/>
    <p:sldMasterId id="2147483684" r:id="rId3"/>
  </p:sldMasterIdLst>
  <p:notesMasterIdLst>
    <p:notesMasterId r:id="rId49"/>
  </p:notesMasterIdLst>
  <p:sldIdLst>
    <p:sldId id="256" r:id="rId4"/>
    <p:sldId id="276" r:id="rId5"/>
    <p:sldId id="973" r:id="rId6"/>
    <p:sldId id="741" r:id="rId7"/>
    <p:sldId id="771" r:id="rId8"/>
    <p:sldId id="720" r:id="rId9"/>
    <p:sldId id="974" r:id="rId10"/>
    <p:sldId id="975" r:id="rId11"/>
    <p:sldId id="976" r:id="rId12"/>
    <p:sldId id="980" r:id="rId13"/>
    <p:sldId id="977" r:id="rId14"/>
    <p:sldId id="978" r:id="rId15"/>
    <p:sldId id="979" r:id="rId16"/>
    <p:sldId id="981" r:id="rId17"/>
    <p:sldId id="982" r:id="rId18"/>
    <p:sldId id="983" r:id="rId19"/>
    <p:sldId id="984" r:id="rId20"/>
    <p:sldId id="985" r:id="rId21"/>
    <p:sldId id="987" r:id="rId22"/>
    <p:sldId id="988" r:id="rId23"/>
    <p:sldId id="986" r:id="rId24"/>
    <p:sldId id="989" r:id="rId25"/>
    <p:sldId id="991" r:id="rId26"/>
    <p:sldId id="990" r:id="rId27"/>
    <p:sldId id="998" r:id="rId28"/>
    <p:sldId id="999" r:id="rId29"/>
    <p:sldId id="1000" r:id="rId30"/>
    <p:sldId id="1001" r:id="rId31"/>
    <p:sldId id="1002" r:id="rId32"/>
    <p:sldId id="992" r:id="rId33"/>
    <p:sldId id="996" r:id="rId34"/>
    <p:sldId id="1003" r:id="rId35"/>
    <p:sldId id="1005" r:id="rId36"/>
    <p:sldId id="1004" r:id="rId37"/>
    <p:sldId id="993" r:id="rId38"/>
    <p:sldId id="1006" r:id="rId39"/>
    <p:sldId id="997" r:id="rId40"/>
    <p:sldId id="1007" r:id="rId41"/>
    <p:sldId id="1008" r:id="rId42"/>
    <p:sldId id="1009" r:id="rId43"/>
    <p:sldId id="994" r:id="rId44"/>
    <p:sldId id="1010" r:id="rId45"/>
    <p:sldId id="1011" r:id="rId46"/>
    <p:sldId id="1012" r:id="rId47"/>
    <p:sldId id="839" r:id="rId48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egidadmin" initials="c" lastIdx="1" clrIdx="0">
    <p:extLst>
      <p:ext uri="{19B8F6BF-5375-455C-9EA6-DF929625EA0E}">
        <p15:presenceInfo xmlns:p15="http://schemas.microsoft.com/office/powerpoint/2012/main" userId="cegidadmin" providerId="None"/>
      </p:ext>
    </p:extLst>
  </p:cmAuthor>
  <p:cmAuthor id="2" name="christophe CHUECOS-FONT" initials="cCF" lastIdx="2" clrIdx="1">
    <p:extLst>
      <p:ext uri="{19B8F6BF-5375-455C-9EA6-DF929625EA0E}">
        <p15:presenceInfo xmlns:p15="http://schemas.microsoft.com/office/powerpoint/2012/main" userId="christophe CHUECOS-FONT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5D2721A-88F0-4B82-A753-716B18641ECD}" v="92" dt="2021-05-05T12:09:22.3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9D7B26C5-4107-4FEC-AEDC-1716B250A1EF}" styleName="Style clair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Style léger 3 - Accentuation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281" autoAdjust="0"/>
    <p:restoredTop sz="94660"/>
  </p:normalViewPr>
  <p:slideViewPr>
    <p:cSldViewPr snapToGrid="0">
      <p:cViewPr varScale="1">
        <p:scale>
          <a:sx n="118" d="100"/>
          <a:sy n="118" d="100"/>
        </p:scale>
        <p:origin x="120" y="3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commentAuthors" Target="commentAuthors.xml"/><Relationship Id="rId55" Type="http://schemas.microsoft.com/office/2016/11/relationships/changesInfo" Target="changesInfos/changesInfo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microsoft.com/office/2015/10/relationships/revisionInfo" Target="revisionInfo.xml"/><Relationship Id="rId8" Type="http://schemas.openxmlformats.org/officeDocument/2006/relationships/slide" Target="slides/slide5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ophe CHUECOS-FONT" userId="7e57acaa-4bc6-4644-8edc-0ecdded28594" providerId="ADAL" clId="{AEC8F169-53EF-477E-AA87-6479700505CB}"/>
    <pc:docChg chg="undo custSel addSld delSld modSld sldOrd">
      <pc:chgData name="christophe CHUECOS-FONT" userId="7e57acaa-4bc6-4644-8edc-0ecdded28594" providerId="ADAL" clId="{AEC8F169-53EF-477E-AA87-6479700505CB}" dt="2021-03-26T12:12:34.739" v="2012" actId="27636"/>
      <pc:docMkLst>
        <pc:docMk/>
      </pc:docMkLst>
      <pc:sldChg chg="modSp mod">
        <pc:chgData name="christophe CHUECOS-FONT" userId="7e57acaa-4bc6-4644-8edc-0ecdded28594" providerId="ADAL" clId="{AEC8F169-53EF-477E-AA87-6479700505CB}" dt="2021-03-26T12:12:34.739" v="2012" actId="27636"/>
        <pc:sldMkLst>
          <pc:docMk/>
          <pc:sldMk cId="3848639155" sldId="256"/>
        </pc:sldMkLst>
        <pc:spChg chg="mod">
          <ac:chgData name="christophe CHUECOS-FONT" userId="7e57acaa-4bc6-4644-8edc-0ecdded28594" providerId="ADAL" clId="{AEC8F169-53EF-477E-AA87-6479700505CB}" dt="2021-03-26T12:12:34.739" v="2012" actId="27636"/>
          <ac:spMkLst>
            <pc:docMk/>
            <pc:sldMk cId="3848639155" sldId="256"/>
            <ac:spMk id="3" creationId="{21349F9F-31B4-41DC-B4DB-C097467B5266}"/>
          </ac:spMkLst>
        </pc:spChg>
      </pc:sldChg>
      <pc:sldChg chg="modSp mod">
        <pc:chgData name="christophe CHUECOS-FONT" userId="7e57acaa-4bc6-4644-8edc-0ecdded28594" providerId="ADAL" clId="{AEC8F169-53EF-477E-AA87-6479700505CB}" dt="2021-03-24T15:50:43.175" v="63" actId="207"/>
        <pc:sldMkLst>
          <pc:docMk/>
          <pc:sldMk cId="251691404" sldId="276"/>
        </pc:sldMkLst>
        <pc:graphicFrameChg chg="mod modGraphic">
          <ac:chgData name="christophe CHUECOS-FONT" userId="7e57acaa-4bc6-4644-8edc-0ecdded28594" providerId="ADAL" clId="{AEC8F169-53EF-477E-AA87-6479700505CB}" dt="2021-03-24T15:50:43.175" v="63" actId="207"/>
          <ac:graphicFrameMkLst>
            <pc:docMk/>
            <pc:sldMk cId="251691404" sldId="276"/>
            <ac:graphicFrameMk id="3" creationId="{90A39BD7-E179-4570-8079-E6A295B49267}"/>
          </ac:graphicFrameMkLst>
        </pc:graphicFrameChg>
      </pc:sldChg>
      <pc:sldChg chg="ord">
        <pc:chgData name="christophe CHUECOS-FONT" userId="7e57acaa-4bc6-4644-8edc-0ecdded28594" providerId="ADAL" clId="{AEC8F169-53EF-477E-AA87-6479700505CB}" dt="2021-03-24T15:52:04.958" v="68"/>
        <pc:sldMkLst>
          <pc:docMk/>
          <pc:sldMk cId="1271957293" sldId="338"/>
        </pc:sldMkLst>
      </pc:sldChg>
      <pc:sldChg chg="ord">
        <pc:chgData name="christophe CHUECOS-FONT" userId="7e57acaa-4bc6-4644-8edc-0ecdded28594" providerId="ADAL" clId="{AEC8F169-53EF-477E-AA87-6479700505CB}" dt="2021-03-24T15:52:04.958" v="68"/>
        <pc:sldMkLst>
          <pc:docMk/>
          <pc:sldMk cId="2720677423" sldId="342"/>
        </pc:sldMkLst>
      </pc:sldChg>
      <pc:sldChg chg="modSp mod">
        <pc:chgData name="christophe CHUECOS-FONT" userId="7e57acaa-4bc6-4644-8edc-0ecdded28594" providerId="ADAL" clId="{AEC8F169-53EF-477E-AA87-6479700505CB}" dt="2021-03-24T15:59:18.286" v="541" actId="20577"/>
        <pc:sldMkLst>
          <pc:docMk/>
          <pc:sldMk cId="2343994896" sldId="867"/>
        </pc:sldMkLst>
        <pc:spChg chg="mod">
          <ac:chgData name="christophe CHUECOS-FONT" userId="7e57acaa-4bc6-4644-8edc-0ecdded28594" providerId="ADAL" clId="{AEC8F169-53EF-477E-AA87-6479700505CB}" dt="2021-03-24T15:59:18.286" v="541" actId="20577"/>
          <ac:spMkLst>
            <pc:docMk/>
            <pc:sldMk cId="2343994896" sldId="867"/>
            <ac:spMk id="3" creationId="{9FA71A85-160A-4CFF-9241-BA71D421B86B}"/>
          </ac:spMkLst>
        </pc:spChg>
      </pc:sldChg>
      <pc:sldChg chg="del">
        <pc:chgData name="christophe CHUECOS-FONT" userId="7e57acaa-4bc6-4644-8edc-0ecdded28594" providerId="ADAL" clId="{AEC8F169-53EF-477E-AA87-6479700505CB}" dt="2021-03-24T15:50:56.315" v="64" actId="47"/>
        <pc:sldMkLst>
          <pc:docMk/>
          <pc:sldMk cId="4246420157" sldId="868"/>
        </pc:sldMkLst>
      </pc:sldChg>
      <pc:sldChg chg="del">
        <pc:chgData name="christophe CHUECOS-FONT" userId="7e57acaa-4bc6-4644-8edc-0ecdded28594" providerId="ADAL" clId="{AEC8F169-53EF-477E-AA87-6479700505CB}" dt="2021-03-24T15:50:56.315" v="64" actId="47"/>
        <pc:sldMkLst>
          <pc:docMk/>
          <pc:sldMk cId="3567505306" sldId="869"/>
        </pc:sldMkLst>
      </pc:sldChg>
      <pc:sldChg chg="del">
        <pc:chgData name="christophe CHUECOS-FONT" userId="7e57acaa-4bc6-4644-8edc-0ecdded28594" providerId="ADAL" clId="{AEC8F169-53EF-477E-AA87-6479700505CB}" dt="2021-03-24T15:50:56.315" v="64" actId="47"/>
        <pc:sldMkLst>
          <pc:docMk/>
          <pc:sldMk cId="2916156587" sldId="870"/>
        </pc:sldMkLst>
      </pc:sldChg>
      <pc:sldChg chg="del">
        <pc:chgData name="christophe CHUECOS-FONT" userId="7e57acaa-4bc6-4644-8edc-0ecdded28594" providerId="ADAL" clId="{AEC8F169-53EF-477E-AA87-6479700505CB}" dt="2021-03-24T15:50:56.315" v="64" actId="47"/>
        <pc:sldMkLst>
          <pc:docMk/>
          <pc:sldMk cId="2390975454" sldId="872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1420163618" sldId="874"/>
        </pc:sldMkLst>
      </pc:sldChg>
      <pc:sldChg chg="addSp delSp modSp del mod">
        <pc:chgData name="christophe CHUECOS-FONT" userId="7e57acaa-4bc6-4644-8edc-0ecdded28594" providerId="ADAL" clId="{AEC8F169-53EF-477E-AA87-6479700505CB}" dt="2021-03-24T16:27:10.865" v="606" actId="47"/>
        <pc:sldMkLst>
          <pc:docMk/>
          <pc:sldMk cId="1272505437" sldId="875"/>
        </pc:sldMkLst>
        <pc:spChg chg="add del mod">
          <ac:chgData name="christophe CHUECOS-FONT" userId="7e57acaa-4bc6-4644-8edc-0ecdded28594" providerId="ADAL" clId="{AEC8F169-53EF-477E-AA87-6479700505CB}" dt="2021-03-24T16:05:58.608" v="574" actId="27636"/>
          <ac:spMkLst>
            <pc:docMk/>
            <pc:sldMk cId="1272505437" sldId="875"/>
            <ac:spMk id="2" creationId="{AEFCB68E-E041-4E46-A233-3C2208DA32CB}"/>
          </ac:spMkLst>
        </pc:spChg>
        <pc:spChg chg="add del mod">
          <ac:chgData name="christophe CHUECOS-FONT" userId="7e57acaa-4bc6-4644-8edc-0ecdded28594" providerId="ADAL" clId="{AEC8F169-53EF-477E-AA87-6479700505CB}" dt="2021-03-24T16:05:58.577" v="573" actId="255"/>
          <ac:spMkLst>
            <pc:docMk/>
            <pc:sldMk cId="1272505437" sldId="875"/>
            <ac:spMk id="3" creationId="{9FA71A85-160A-4CFF-9241-BA71D421B86B}"/>
          </ac:spMkLst>
        </pc:spChg>
        <pc:spChg chg="add del mod">
          <ac:chgData name="christophe CHUECOS-FONT" userId="7e57acaa-4bc6-4644-8edc-0ecdded28594" providerId="ADAL" clId="{AEC8F169-53EF-477E-AA87-6479700505CB}" dt="2021-03-24T16:05:43.099" v="572" actId="21"/>
          <ac:spMkLst>
            <pc:docMk/>
            <pc:sldMk cId="1272505437" sldId="875"/>
            <ac:spMk id="7" creationId="{7474A46D-EC03-451B-8937-EB17AC694879}"/>
          </ac:spMkLst>
        </pc:spChg>
        <pc:spChg chg="add del mod">
          <ac:chgData name="christophe CHUECOS-FONT" userId="7e57acaa-4bc6-4644-8edc-0ecdded28594" providerId="ADAL" clId="{AEC8F169-53EF-477E-AA87-6479700505CB}" dt="2021-03-24T16:05:43.099" v="572" actId="21"/>
          <ac:spMkLst>
            <pc:docMk/>
            <pc:sldMk cId="1272505437" sldId="875"/>
            <ac:spMk id="9" creationId="{51C7B3E8-0B4D-4DE7-B85D-BF987A04E337}"/>
          </ac:spMkLst>
        </pc:spChg>
        <pc:spChg chg="add del mod">
          <ac:chgData name="christophe CHUECOS-FONT" userId="7e57acaa-4bc6-4644-8edc-0ecdded28594" providerId="ADAL" clId="{AEC8F169-53EF-477E-AA87-6479700505CB}" dt="2021-03-24T16:05:58.577" v="573" actId="255"/>
          <ac:spMkLst>
            <pc:docMk/>
            <pc:sldMk cId="1272505437" sldId="875"/>
            <ac:spMk id="17" creationId="{100EDD19-6802-4EC3-95CE-CFFAB042CFD6}"/>
          </ac:spMkLst>
        </pc:spChg>
        <pc:spChg chg="add del mod">
          <ac:chgData name="christophe CHUECOS-FONT" userId="7e57acaa-4bc6-4644-8edc-0ecdded28594" providerId="ADAL" clId="{AEC8F169-53EF-477E-AA87-6479700505CB}" dt="2021-03-24T16:05:58.577" v="573" actId="255"/>
          <ac:spMkLst>
            <pc:docMk/>
            <pc:sldMk cId="1272505437" sldId="875"/>
            <ac:spMk id="19" creationId="{DB17E863-922E-4C26-BD64-E8FD41D28661}"/>
          </ac:spMkLst>
        </pc:spChg>
        <pc:graphicFrameChg chg="add del mod">
          <ac:chgData name="christophe CHUECOS-FONT" userId="7e57acaa-4bc6-4644-8edc-0ecdded28594" providerId="ADAL" clId="{AEC8F169-53EF-477E-AA87-6479700505CB}" dt="2021-03-24T16:04:37.401" v="545" actId="478"/>
          <ac:graphicFrameMkLst>
            <pc:docMk/>
            <pc:sldMk cId="1272505437" sldId="875"/>
            <ac:graphicFrameMk id="4" creationId="{79E6EB5D-C087-4EEF-98A7-C4EBFBBFAC6F}"/>
          </ac:graphicFrameMkLst>
        </pc:graphicFrameChg>
        <pc:graphicFrameChg chg="add del mod modGraphic">
          <ac:chgData name="christophe CHUECOS-FONT" userId="7e57acaa-4bc6-4644-8edc-0ecdded28594" providerId="ADAL" clId="{AEC8F169-53EF-477E-AA87-6479700505CB}" dt="2021-03-24T16:05:43.099" v="572" actId="21"/>
          <ac:graphicFrameMkLst>
            <pc:docMk/>
            <pc:sldMk cId="1272505437" sldId="875"/>
            <ac:graphicFrameMk id="5" creationId="{3B2EE863-69EE-470E-A078-DDF1D7866279}"/>
          </ac:graphicFrameMkLst>
        </pc:graphicFrameChg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2120194084" sldId="876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3555506515" sldId="881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4214439185" sldId="882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956738131" sldId="883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564049889" sldId="884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2500649885" sldId="885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2772397083" sldId="886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4010406189" sldId="887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4292866186" sldId="888"/>
        </pc:sldMkLst>
      </pc:sldChg>
      <pc:sldChg chg="del">
        <pc:chgData name="christophe CHUECOS-FONT" userId="7e57acaa-4bc6-4644-8edc-0ecdded28594" providerId="ADAL" clId="{AEC8F169-53EF-477E-AA87-6479700505CB}" dt="2021-03-24T15:51:03.011" v="65" actId="47"/>
        <pc:sldMkLst>
          <pc:docMk/>
          <pc:sldMk cId="3854511998" sldId="889"/>
        </pc:sldMkLst>
      </pc:sldChg>
      <pc:sldChg chg="del">
        <pc:chgData name="christophe CHUECOS-FONT" userId="7e57acaa-4bc6-4644-8edc-0ecdded28594" providerId="ADAL" clId="{AEC8F169-53EF-477E-AA87-6479700505CB}" dt="2021-03-24T18:05:55.052" v="1292" actId="47"/>
        <pc:sldMkLst>
          <pc:docMk/>
          <pc:sldMk cId="2561881984" sldId="890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162758596" sldId="891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3592509618" sldId="892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1833177139" sldId="893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3528439896" sldId="895"/>
        </pc:sldMkLst>
      </pc:sldChg>
      <pc:sldChg chg="del">
        <pc:chgData name="christophe CHUECOS-FONT" userId="7e57acaa-4bc6-4644-8edc-0ecdded28594" providerId="ADAL" clId="{AEC8F169-53EF-477E-AA87-6479700505CB}" dt="2021-03-24T18:05:57.600" v="1293" actId="47"/>
        <pc:sldMkLst>
          <pc:docMk/>
          <pc:sldMk cId="2970499838" sldId="896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3210478480" sldId="897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1288409538" sldId="898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3763403550" sldId="899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456064155" sldId="901"/>
        </pc:sldMkLst>
      </pc:sldChg>
      <pc:sldChg chg="del">
        <pc:chgData name="christophe CHUECOS-FONT" userId="7e57acaa-4bc6-4644-8edc-0ecdded28594" providerId="ADAL" clId="{AEC8F169-53EF-477E-AA87-6479700505CB}" dt="2021-03-24T15:51:46.422" v="66" actId="47"/>
        <pc:sldMkLst>
          <pc:docMk/>
          <pc:sldMk cId="3566007874" sldId="902"/>
        </pc:sldMkLst>
      </pc:sldChg>
      <pc:sldChg chg="modSp mod ord">
        <pc:chgData name="christophe CHUECOS-FONT" userId="7e57acaa-4bc6-4644-8edc-0ecdded28594" providerId="ADAL" clId="{AEC8F169-53EF-477E-AA87-6479700505CB}" dt="2021-03-26T12:05:37.018" v="1960"/>
        <pc:sldMkLst>
          <pc:docMk/>
          <pc:sldMk cId="518596460" sldId="903"/>
        </pc:sldMkLst>
        <pc:spChg chg="mod">
          <ac:chgData name="christophe CHUECOS-FONT" userId="7e57acaa-4bc6-4644-8edc-0ecdded28594" providerId="ADAL" clId="{AEC8F169-53EF-477E-AA87-6479700505CB}" dt="2021-03-26T10:42:42.730" v="1326" actId="6549"/>
          <ac:spMkLst>
            <pc:docMk/>
            <pc:sldMk cId="518596460" sldId="903"/>
            <ac:spMk id="2" creationId="{41644713-AF21-4543-94FE-A96FEBAA2B11}"/>
          </ac:spMkLst>
        </pc:spChg>
        <pc:spChg chg="mod">
          <ac:chgData name="christophe CHUECOS-FONT" userId="7e57acaa-4bc6-4644-8edc-0ecdded28594" providerId="ADAL" clId="{AEC8F169-53EF-477E-AA87-6479700505CB}" dt="2021-03-26T10:42:39.267" v="1325" actId="20577"/>
          <ac:spMkLst>
            <pc:docMk/>
            <pc:sldMk cId="518596460" sldId="903"/>
            <ac:spMk id="3" creationId="{6E6AB3AA-03B3-4E7A-94A3-3EB3E0E9D005}"/>
          </ac:spMkLst>
        </pc:spChg>
      </pc:sldChg>
      <pc:sldChg chg="modSp mod">
        <pc:chgData name="christophe CHUECOS-FONT" userId="7e57acaa-4bc6-4644-8edc-0ecdded28594" providerId="ADAL" clId="{AEC8F169-53EF-477E-AA87-6479700505CB}" dt="2021-03-26T10:42:27.630" v="1316" actId="20577"/>
        <pc:sldMkLst>
          <pc:docMk/>
          <pc:sldMk cId="2856685236" sldId="904"/>
        </pc:sldMkLst>
        <pc:spChg chg="mod">
          <ac:chgData name="christophe CHUECOS-FONT" userId="7e57acaa-4bc6-4644-8edc-0ecdded28594" providerId="ADAL" clId="{AEC8F169-53EF-477E-AA87-6479700505CB}" dt="2021-03-26T10:42:27.630" v="1316" actId="20577"/>
          <ac:spMkLst>
            <pc:docMk/>
            <pc:sldMk cId="2856685236" sldId="904"/>
            <ac:spMk id="5" creationId="{DFEA2082-E7DE-4453-8158-54F380B94285}"/>
          </ac:spMkLst>
        </pc:spChg>
      </pc:sldChg>
      <pc:sldChg chg="modSp mod ord">
        <pc:chgData name="christophe CHUECOS-FONT" userId="7e57acaa-4bc6-4644-8edc-0ecdded28594" providerId="ADAL" clId="{AEC8F169-53EF-477E-AA87-6479700505CB}" dt="2021-03-24T15:56:08.212" v="148" actId="20577"/>
        <pc:sldMkLst>
          <pc:docMk/>
          <pc:sldMk cId="963568808" sldId="905"/>
        </pc:sldMkLst>
        <pc:spChg chg="mod">
          <ac:chgData name="christophe CHUECOS-FONT" userId="7e57acaa-4bc6-4644-8edc-0ecdded28594" providerId="ADAL" clId="{AEC8F169-53EF-477E-AA87-6479700505CB}" dt="2021-03-24T15:56:08.212" v="148" actId="20577"/>
          <ac:spMkLst>
            <pc:docMk/>
            <pc:sldMk cId="963568808" sldId="905"/>
            <ac:spMk id="5" creationId="{DFEA2082-E7DE-4453-8158-54F380B94285}"/>
          </ac:spMkLst>
        </pc:spChg>
      </pc:sldChg>
      <pc:sldChg chg="modSp mod ord">
        <pc:chgData name="christophe CHUECOS-FONT" userId="7e57acaa-4bc6-4644-8edc-0ecdded28594" providerId="ADAL" clId="{AEC8F169-53EF-477E-AA87-6479700505CB}" dt="2021-03-24T15:57:06.465" v="292" actId="20577"/>
        <pc:sldMkLst>
          <pc:docMk/>
          <pc:sldMk cId="2413877595" sldId="906"/>
        </pc:sldMkLst>
        <pc:spChg chg="mod">
          <ac:chgData name="christophe CHUECOS-FONT" userId="7e57acaa-4bc6-4644-8edc-0ecdded28594" providerId="ADAL" clId="{AEC8F169-53EF-477E-AA87-6479700505CB}" dt="2021-03-24T15:57:06.465" v="292" actId="20577"/>
          <ac:spMkLst>
            <pc:docMk/>
            <pc:sldMk cId="2413877595" sldId="906"/>
            <ac:spMk id="3" creationId="{9FA71A85-160A-4CFF-9241-BA71D421B86B}"/>
          </ac:spMkLst>
        </pc:spChg>
      </pc:sldChg>
      <pc:sldChg chg="del">
        <pc:chgData name="christophe CHUECOS-FONT" userId="7e57acaa-4bc6-4644-8edc-0ecdded28594" providerId="ADAL" clId="{AEC8F169-53EF-477E-AA87-6479700505CB}" dt="2021-03-26T10:42:47.154" v="1327" actId="47"/>
        <pc:sldMkLst>
          <pc:docMk/>
          <pc:sldMk cId="606901911" sldId="907"/>
        </pc:sldMkLst>
      </pc:sldChg>
      <pc:sldChg chg="addSp delSp modSp mod setBg">
        <pc:chgData name="christophe CHUECOS-FONT" userId="7e57acaa-4bc6-4644-8edc-0ecdded28594" providerId="ADAL" clId="{AEC8F169-53EF-477E-AA87-6479700505CB}" dt="2021-03-26T11:24:33.867" v="1570" actId="26606"/>
        <pc:sldMkLst>
          <pc:docMk/>
          <pc:sldMk cId="3810924798" sldId="908"/>
        </pc:sldMkLst>
        <pc:spChg chg="mod">
          <ac:chgData name="christophe CHUECOS-FONT" userId="7e57acaa-4bc6-4644-8edc-0ecdded28594" providerId="ADAL" clId="{AEC8F169-53EF-477E-AA87-6479700505CB}" dt="2021-03-26T11:24:33.867" v="1570" actId="26606"/>
          <ac:spMkLst>
            <pc:docMk/>
            <pc:sldMk cId="3810924798" sldId="908"/>
            <ac:spMk id="2" creationId="{41644713-AF21-4543-94FE-A96FEBAA2B11}"/>
          </ac:spMkLst>
        </pc:spChg>
        <pc:spChg chg="add del mod">
          <ac:chgData name="christophe CHUECOS-FONT" userId="7e57acaa-4bc6-4644-8edc-0ecdded28594" providerId="ADAL" clId="{AEC8F169-53EF-477E-AA87-6479700505CB}" dt="2021-03-26T11:12:10.612" v="1335"/>
          <ac:spMkLst>
            <pc:docMk/>
            <pc:sldMk cId="3810924798" sldId="908"/>
            <ac:spMk id="4" creationId="{B3280688-2F61-454E-A709-72F5457646C7}"/>
          </ac:spMkLst>
        </pc:spChg>
        <pc:spChg chg="add del mod">
          <ac:chgData name="christophe CHUECOS-FONT" userId="7e57acaa-4bc6-4644-8edc-0ecdded28594" providerId="ADAL" clId="{AEC8F169-53EF-477E-AA87-6479700505CB}" dt="2021-03-26T11:12:26.826" v="1337"/>
          <ac:spMkLst>
            <pc:docMk/>
            <pc:sldMk cId="3810924798" sldId="908"/>
            <ac:spMk id="8" creationId="{5854B5F1-0E87-4605-90B3-DE0FD917AB2D}"/>
          </ac:spMkLst>
        </pc:spChg>
        <pc:spChg chg="add del">
          <ac:chgData name="christophe CHUECOS-FONT" userId="7e57acaa-4bc6-4644-8edc-0ecdded28594" providerId="ADAL" clId="{AEC8F169-53EF-477E-AA87-6479700505CB}" dt="2021-03-26T11:24:33.867" v="1570" actId="26606"/>
          <ac:spMkLst>
            <pc:docMk/>
            <pc:sldMk cId="3810924798" sldId="908"/>
            <ac:spMk id="14" creationId="{D12DDE76-C203-4047-9998-63900085B5E8}"/>
          </ac:spMkLst>
        </pc:spChg>
        <pc:graphicFrameChg chg="del mod">
          <ac:chgData name="christophe CHUECOS-FONT" userId="7e57acaa-4bc6-4644-8edc-0ecdded28594" providerId="ADAL" clId="{AEC8F169-53EF-477E-AA87-6479700505CB}" dt="2021-03-26T11:12:06.246" v="1334" actId="21"/>
          <ac:graphicFrameMkLst>
            <pc:docMk/>
            <pc:sldMk cId="3810924798" sldId="908"/>
            <ac:graphicFrameMk id="5" creationId="{43C069CA-369C-4FE3-84C1-BB47F63F8528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24:33.867" v="1570" actId="26606"/>
          <ac:graphicFrameMkLst>
            <pc:docMk/>
            <pc:sldMk cId="3810924798" sldId="908"/>
            <ac:graphicFrameMk id="9" creationId="{28197CF5-4A66-4B20-AD59-453DC110C409}"/>
          </ac:graphicFrameMkLst>
        </pc:graphicFrameChg>
        <pc:picChg chg="add del mod">
          <ac:chgData name="christophe CHUECOS-FONT" userId="7e57acaa-4bc6-4644-8edc-0ecdded28594" providerId="ADAL" clId="{AEC8F169-53EF-477E-AA87-6479700505CB}" dt="2021-03-26T11:12:13.678" v="1336" actId="478"/>
          <ac:picMkLst>
            <pc:docMk/>
            <pc:sldMk cId="3810924798" sldId="908"/>
            <ac:picMk id="6" creationId="{544F78A7-7590-4A58-977C-A1AE62728009}"/>
          </ac:picMkLst>
        </pc:picChg>
      </pc:sldChg>
      <pc:sldChg chg="addSp delSp modSp mod setBg delCm">
        <pc:chgData name="christophe CHUECOS-FONT" userId="7e57acaa-4bc6-4644-8edc-0ecdded28594" providerId="ADAL" clId="{AEC8F169-53EF-477E-AA87-6479700505CB}" dt="2021-03-26T11:23:14.967" v="1558" actId="26606"/>
        <pc:sldMkLst>
          <pc:docMk/>
          <pc:sldMk cId="1480198139" sldId="909"/>
        </pc:sldMkLst>
        <pc:spChg chg="add del mod">
          <ac:chgData name="christophe CHUECOS-FONT" userId="7e57acaa-4bc6-4644-8edc-0ecdded28594" providerId="ADAL" clId="{AEC8F169-53EF-477E-AA87-6479700505CB}" dt="2021-03-26T11:15:06.063" v="1439"/>
          <ac:spMkLst>
            <pc:docMk/>
            <pc:sldMk cId="1480198139" sldId="909"/>
            <ac:spMk id="3" creationId="{147E1F0C-F017-4B02-B32E-08CCC3A44879}"/>
          </ac:spMkLst>
        </pc:spChg>
        <pc:spChg chg="add mod">
          <ac:chgData name="christophe CHUECOS-FONT" userId="7e57acaa-4bc6-4644-8edc-0ecdded28594" providerId="ADAL" clId="{AEC8F169-53EF-477E-AA87-6479700505CB}" dt="2021-03-26T11:23:14.967" v="1558" actId="26606"/>
          <ac:spMkLst>
            <pc:docMk/>
            <pc:sldMk cId="1480198139" sldId="909"/>
            <ac:spMk id="5" creationId="{0C94751B-4797-48DD-A7B0-4DB16F378D6D}"/>
          </ac:spMkLst>
        </pc:spChg>
        <pc:spChg chg="add">
          <ac:chgData name="christophe CHUECOS-FONT" userId="7e57acaa-4bc6-4644-8edc-0ecdded28594" providerId="ADAL" clId="{AEC8F169-53EF-477E-AA87-6479700505CB}" dt="2021-03-26T11:23:14.967" v="1558" actId="26606"/>
          <ac:spMkLst>
            <pc:docMk/>
            <pc:sldMk cId="1480198139" sldId="909"/>
            <ac:spMk id="7" creationId="{BACC6370-2D7E-4714-9D71-7542949D7D5D}"/>
          </ac:spMkLst>
        </pc:spChg>
        <pc:spChg chg="add">
          <ac:chgData name="christophe CHUECOS-FONT" userId="7e57acaa-4bc6-4644-8edc-0ecdded28594" providerId="ADAL" clId="{AEC8F169-53EF-477E-AA87-6479700505CB}" dt="2021-03-26T11:23:14.967" v="1558" actId="26606"/>
          <ac:spMkLst>
            <pc:docMk/>
            <pc:sldMk cId="1480198139" sldId="909"/>
            <ac:spMk id="9" creationId="{F68B3F68-107C-434F-AA38-110D5EA91B85}"/>
          </ac:spMkLst>
        </pc:spChg>
        <pc:spChg chg="add">
          <ac:chgData name="christophe CHUECOS-FONT" userId="7e57acaa-4bc6-4644-8edc-0ecdded28594" providerId="ADAL" clId="{AEC8F169-53EF-477E-AA87-6479700505CB}" dt="2021-03-26T11:23:14.967" v="1558" actId="26606"/>
          <ac:spMkLst>
            <pc:docMk/>
            <pc:sldMk cId="1480198139" sldId="909"/>
            <ac:spMk id="14" creationId="{AAD0DBB9-1A4B-4391-81D4-CB19F9AB918A}"/>
          </ac:spMkLst>
        </pc:spChg>
        <pc:spChg chg="add">
          <ac:chgData name="christophe CHUECOS-FONT" userId="7e57acaa-4bc6-4644-8edc-0ecdded28594" providerId="ADAL" clId="{AEC8F169-53EF-477E-AA87-6479700505CB}" dt="2021-03-26T11:23:14.967" v="1558" actId="26606"/>
          <ac:spMkLst>
            <pc:docMk/>
            <pc:sldMk cId="1480198139" sldId="909"/>
            <ac:spMk id="16" creationId="{063BBA22-50EA-4C4D-BE05-F1CE4E63AA56}"/>
          </ac:spMkLst>
        </pc:spChg>
        <pc:graphicFrameChg chg="add mod ord modGraphic">
          <ac:chgData name="christophe CHUECOS-FONT" userId="7e57acaa-4bc6-4644-8edc-0ecdded28594" providerId="ADAL" clId="{AEC8F169-53EF-477E-AA87-6479700505CB}" dt="2021-03-26T11:23:14.967" v="1558" actId="26606"/>
          <ac:graphicFrameMkLst>
            <pc:docMk/>
            <pc:sldMk cId="1480198139" sldId="909"/>
            <ac:graphicFrameMk id="4" creationId="{87A75930-C904-4BA5-8DC2-25CEE7078240}"/>
          </ac:graphicFrameMkLst>
        </pc:graphicFrameChg>
        <pc:graphicFrameChg chg="del mod modGraphic">
          <ac:chgData name="christophe CHUECOS-FONT" userId="7e57acaa-4bc6-4644-8edc-0ecdded28594" providerId="ADAL" clId="{AEC8F169-53EF-477E-AA87-6479700505CB}" dt="2021-03-26T11:14:54.180" v="1437" actId="21"/>
          <ac:graphicFrameMkLst>
            <pc:docMk/>
            <pc:sldMk cId="1480198139" sldId="909"/>
            <ac:graphicFrameMk id="13" creationId="{6EB9F717-B5A8-4A5D-B160-A8BE78AE15BF}"/>
          </ac:graphicFrameMkLst>
        </pc:graphicFrameChg>
      </pc:sldChg>
      <pc:sldChg chg="modSp mod">
        <pc:chgData name="christophe CHUECOS-FONT" userId="7e57acaa-4bc6-4644-8edc-0ecdded28594" providerId="ADAL" clId="{AEC8F169-53EF-477E-AA87-6479700505CB}" dt="2021-03-26T11:15:35.319" v="1442" actId="20577"/>
        <pc:sldMkLst>
          <pc:docMk/>
          <pc:sldMk cId="4043781952" sldId="910"/>
        </pc:sldMkLst>
        <pc:spChg chg="mod">
          <ac:chgData name="christophe CHUECOS-FONT" userId="7e57acaa-4bc6-4644-8edc-0ecdded28594" providerId="ADAL" clId="{AEC8F169-53EF-477E-AA87-6479700505CB}" dt="2021-03-26T11:15:35.319" v="1442" actId="20577"/>
          <ac:spMkLst>
            <pc:docMk/>
            <pc:sldMk cId="4043781952" sldId="910"/>
            <ac:spMk id="5" creationId="{DFEA2082-E7DE-4453-8158-54F380B94285}"/>
          </ac:spMkLst>
        </pc:spChg>
      </pc:sldChg>
      <pc:sldChg chg="modSp add mod ord">
        <pc:chgData name="christophe CHUECOS-FONT" userId="7e57acaa-4bc6-4644-8edc-0ecdded28594" providerId="ADAL" clId="{AEC8F169-53EF-477E-AA87-6479700505CB}" dt="2021-03-24T15:52:25.952" v="98" actId="6549"/>
        <pc:sldMkLst>
          <pc:docMk/>
          <pc:sldMk cId="3315866881" sldId="911"/>
        </pc:sldMkLst>
        <pc:spChg chg="mod">
          <ac:chgData name="christophe CHUECOS-FONT" userId="7e57acaa-4bc6-4644-8edc-0ecdded28594" providerId="ADAL" clId="{AEC8F169-53EF-477E-AA87-6479700505CB}" dt="2021-03-24T15:52:25.952" v="98" actId="6549"/>
          <ac:spMkLst>
            <pc:docMk/>
            <pc:sldMk cId="3315866881" sldId="911"/>
            <ac:spMk id="5" creationId="{DFEA2082-E7DE-4453-8158-54F380B94285}"/>
          </ac:spMkLst>
        </pc:spChg>
      </pc:sldChg>
      <pc:sldChg chg="modSp add mod">
        <pc:chgData name="christophe CHUECOS-FONT" userId="7e57acaa-4bc6-4644-8edc-0ecdded28594" providerId="ADAL" clId="{AEC8F169-53EF-477E-AA87-6479700505CB}" dt="2021-03-24T18:03:07.184" v="1083" actId="20577"/>
        <pc:sldMkLst>
          <pc:docMk/>
          <pc:sldMk cId="1509860493" sldId="912"/>
        </pc:sldMkLst>
        <pc:spChg chg="mod">
          <ac:chgData name="christophe CHUECOS-FONT" userId="7e57acaa-4bc6-4644-8edc-0ecdded28594" providerId="ADAL" clId="{AEC8F169-53EF-477E-AA87-6479700505CB}" dt="2021-03-24T17:58:17.955" v="784" actId="20577"/>
          <ac:spMkLst>
            <pc:docMk/>
            <pc:sldMk cId="1509860493" sldId="912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AEC8F169-53EF-477E-AA87-6479700505CB}" dt="2021-03-24T18:03:07.184" v="1083" actId="20577"/>
          <ac:spMkLst>
            <pc:docMk/>
            <pc:sldMk cId="1509860493" sldId="912"/>
            <ac:spMk id="3" creationId="{9FA71A85-160A-4CFF-9241-BA71D421B86B}"/>
          </ac:spMkLst>
        </pc:spChg>
      </pc:sldChg>
      <pc:sldChg chg="add del ord">
        <pc:chgData name="christophe CHUECOS-FONT" userId="7e57acaa-4bc6-4644-8edc-0ecdded28594" providerId="ADAL" clId="{AEC8F169-53EF-477E-AA87-6479700505CB}" dt="2021-03-24T15:55:57.538" v="133" actId="47"/>
        <pc:sldMkLst>
          <pc:docMk/>
          <pc:sldMk cId="2649786644" sldId="912"/>
        </pc:sldMkLst>
      </pc:sldChg>
      <pc:sldChg chg="addSp delSp modSp new mod ord">
        <pc:chgData name="christophe CHUECOS-FONT" userId="7e57acaa-4bc6-4644-8edc-0ecdded28594" providerId="ADAL" clId="{AEC8F169-53EF-477E-AA87-6479700505CB}" dt="2021-03-26T12:10:21.250" v="2000"/>
        <pc:sldMkLst>
          <pc:docMk/>
          <pc:sldMk cId="959441881" sldId="913"/>
        </pc:sldMkLst>
        <pc:spChg chg="del">
          <ac:chgData name="christophe CHUECOS-FONT" userId="7e57acaa-4bc6-4644-8edc-0ecdded28594" providerId="ADAL" clId="{AEC8F169-53EF-477E-AA87-6479700505CB}" dt="2021-03-24T16:06:12.494" v="576" actId="21"/>
          <ac:spMkLst>
            <pc:docMk/>
            <pc:sldMk cId="959441881" sldId="913"/>
            <ac:spMk id="2" creationId="{C24A9760-766E-474B-9BCD-8672980309A5}"/>
          </ac:spMkLst>
        </pc:spChg>
        <pc:spChg chg="del">
          <ac:chgData name="christophe CHUECOS-FONT" userId="7e57acaa-4bc6-4644-8edc-0ecdded28594" providerId="ADAL" clId="{AEC8F169-53EF-477E-AA87-6479700505CB}" dt="2021-03-24T16:06:21.248" v="577"/>
          <ac:spMkLst>
            <pc:docMk/>
            <pc:sldMk cId="959441881" sldId="913"/>
            <ac:spMk id="3" creationId="{53152A8F-D783-49B8-963B-862BC02C8978}"/>
          </ac:spMkLst>
        </pc:spChg>
        <pc:spChg chg="add del mod">
          <ac:chgData name="christophe CHUECOS-FONT" userId="7e57acaa-4bc6-4644-8edc-0ecdded28594" providerId="ADAL" clId="{AEC8F169-53EF-477E-AA87-6479700505CB}" dt="2021-03-24T16:24:58.629" v="588" actId="21"/>
          <ac:spMkLst>
            <pc:docMk/>
            <pc:sldMk cId="959441881" sldId="913"/>
            <ac:spMk id="6" creationId="{B32834A5-4CF3-4679-BF67-C824754CCFED}"/>
          </ac:spMkLst>
        </pc:spChg>
        <pc:graphicFrameChg chg="add del mod modGraphic">
          <ac:chgData name="christophe CHUECOS-FONT" userId="7e57acaa-4bc6-4644-8edc-0ecdded28594" providerId="ADAL" clId="{AEC8F169-53EF-477E-AA87-6479700505CB}" dt="2021-03-24T16:06:55.773" v="586"/>
          <ac:graphicFrameMkLst>
            <pc:docMk/>
            <pc:sldMk cId="959441881" sldId="913"/>
            <ac:graphicFrameMk id="7" creationId="{1FE6527B-2F07-467E-B6A6-E03766F069E7}"/>
          </ac:graphicFrameMkLst>
        </pc:graphicFrameChg>
        <pc:graphicFrameChg chg="add mod">
          <ac:chgData name="christophe CHUECOS-FONT" userId="7e57acaa-4bc6-4644-8edc-0ecdded28594" providerId="ADAL" clId="{AEC8F169-53EF-477E-AA87-6479700505CB}" dt="2021-03-24T16:25:13.862" v="591" actId="14100"/>
          <ac:graphicFrameMkLst>
            <pc:docMk/>
            <pc:sldMk cId="959441881" sldId="913"/>
            <ac:graphicFrameMk id="8" creationId="{03549B7A-066D-4011-88EB-5129437E0AC2}"/>
          </ac:graphicFrameMkLst>
        </pc:graphicFrameChg>
        <pc:picChg chg="add del mod">
          <ac:chgData name="christophe CHUECOS-FONT" userId="7e57acaa-4bc6-4644-8edc-0ecdded28594" providerId="ADAL" clId="{AEC8F169-53EF-477E-AA87-6479700505CB}" dt="2021-03-24T16:06:29.730" v="580" actId="21"/>
          <ac:picMkLst>
            <pc:docMk/>
            <pc:sldMk cId="959441881" sldId="913"/>
            <ac:picMk id="4" creationId="{FC563A73-BB60-4873-AD33-C25DE48C7F44}"/>
          </ac:picMkLst>
        </pc:picChg>
      </pc:sldChg>
      <pc:sldChg chg="addSp delSp modSp add mod ord">
        <pc:chgData name="christophe CHUECOS-FONT" userId="7e57acaa-4bc6-4644-8edc-0ecdded28594" providerId="ADAL" clId="{AEC8F169-53EF-477E-AA87-6479700505CB}" dt="2021-03-26T12:10:28.736" v="2002"/>
        <pc:sldMkLst>
          <pc:docMk/>
          <pc:sldMk cId="3118954032" sldId="914"/>
        </pc:sldMkLst>
        <pc:graphicFrameChg chg="add del mod modGraphic">
          <ac:chgData name="christophe CHUECOS-FONT" userId="7e57acaa-4bc6-4644-8edc-0ecdded28594" providerId="ADAL" clId="{AEC8F169-53EF-477E-AA87-6479700505CB}" dt="2021-03-24T16:25:58.313" v="597" actId="478"/>
          <ac:graphicFrameMkLst>
            <pc:docMk/>
            <pc:sldMk cId="3118954032" sldId="914"/>
            <ac:graphicFrameMk id="2" creationId="{D8AE8A75-7E51-417A-AB6C-DCF0F250C68E}"/>
          </ac:graphicFrameMkLst>
        </pc:graphicFrameChg>
        <pc:graphicFrameChg chg="add mod">
          <ac:chgData name="christophe CHUECOS-FONT" userId="7e57acaa-4bc6-4644-8edc-0ecdded28594" providerId="ADAL" clId="{AEC8F169-53EF-477E-AA87-6479700505CB}" dt="2021-03-24T16:26:14.922" v="600" actId="14100"/>
          <ac:graphicFrameMkLst>
            <pc:docMk/>
            <pc:sldMk cId="3118954032" sldId="914"/>
            <ac:graphicFrameMk id="3" creationId="{D1BABF3C-2D4C-44EE-953C-2D26242FA087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4T16:25:50.207" v="594" actId="478"/>
          <ac:graphicFrameMkLst>
            <pc:docMk/>
            <pc:sldMk cId="3118954032" sldId="914"/>
            <ac:graphicFrameMk id="8" creationId="{03549B7A-066D-4011-88EB-5129437E0AC2}"/>
          </ac:graphicFrameMkLst>
        </pc:graphicFrameChg>
      </pc:sldChg>
      <pc:sldChg chg="addSp delSp modSp add mod ord">
        <pc:chgData name="christophe CHUECOS-FONT" userId="7e57acaa-4bc6-4644-8edc-0ecdded28594" providerId="ADAL" clId="{AEC8F169-53EF-477E-AA87-6479700505CB}" dt="2021-03-26T12:10:33.787" v="2004"/>
        <pc:sldMkLst>
          <pc:docMk/>
          <pc:sldMk cId="3283168960" sldId="915"/>
        </pc:sldMkLst>
        <pc:graphicFrameChg chg="add mod">
          <ac:chgData name="christophe CHUECOS-FONT" userId="7e57acaa-4bc6-4644-8edc-0ecdded28594" providerId="ADAL" clId="{AEC8F169-53EF-477E-AA87-6479700505CB}" dt="2021-03-24T16:26:59.733" v="605" actId="14100"/>
          <ac:graphicFrameMkLst>
            <pc:docMk/>
            <pc:sldMk cId="3283168960" sldId="915"/>
            <ac:graphicFrameMk id="2" creationId="{26A5003C-883F-46D1-92B2-A39F7110646C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4T16:26:25.754" v="602" actId="478"/>
          <ac:graphicFrameMkLst>
            <pc:docMk/>
            <pc:sldMk cId="3283168960" sldId="915"/>
            <ac:graphicFrameMk id="3" creationId="{D1BABF3C-2D4C-44EE-953C-2D26242FA087}"/>
          </ac:graphicFrameMkLst>
        </pc:graphicFrameChg>
      </pc:sldChg>
      <pc:sldChg chg="addSp modSp add mod ord">
        <pc:chgData name="christophe CHUECOS-FONT" userId="7e57acaa-4bc6-4644-8edc-0ecdded28594" providerId="ADAL" clId="{AEC8F169-53EF-477E-AA87-6479700505CB}" dt="2021-03-24T17:53:31.703" v="627" actId="5793"/>
        <pc:sldMkLst>
          <pc:docMk/>
          <pc:sldMk cId="615629420" sldId="916"/>
        </pc:sldMkLst>
        <pc:spChg chg="mod">
          <ac:chgData name="christophe CHUECOS-FONT" userId="7e57acaa-4bc6-4644-8edc-0ecdded28594" providerId="ADAL" clId="{AEC8F169-53EF-477E-AA87-6479700505CB}" dt="2021-03-24T17:53:31.703" v="627" actId="5793"/>
          <ac:spMkLst>
            <pc:docMk/>
            <pc:sldMk cId="615629420" sldId="916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AEC8F169-53EF-477E-AA87-6479700505CB}" dt="2021-03-24T16:33:22.646" v="613" actId="6549"/>
          <ac:spMkLst>
            <pc:docMk/>
            <pc:sldMk cId="615629420" sldId="916"/>
            <ac:spMk id="3" creationId="{9FA71A85-160A-4CFF-9241-BA71D421B86B}"/>
          </ac:spMkLst>
        </pc:spChg>
        <pc:graphicFrameChg chg="add mod modGraphic">
          <ac:chgData name="christophe CHUECOS-FONT" userId="7e57acaa-4bc6-4644-8edc-0ecdded28594" providerId="ADAL" clId="{AEC8F169-53EF-477E-AA87-6479700505CB}" dt="2021-03-24T17:53:23.531" v="619" actId="12385"/>
          <ac:graphicFrameMkLst>
            <pc:docMk/>
            <pc:sldMk cId="615629420" sldId="916"/>
            <ac:graphicFrameMk id="4" creationId="{8B7C3765-CF61-4673-9715-52D9DB708ADA}"/>
          </ac:graphicFrameMkLst>
        </pc:graphicFrameChg>
      </pc:sldChg>
      <pc:sldChg chg="modSp add mod">
        <pc:chgData name="christophe CHUECOS-FONT" userId="7e57acaa-4bc6-4644-8edc-0ecdded28594" providerId="ADAL" clId="{AEC8F169-53EF-477E-AA87-6479700505CB}" dt="2021-03-24T18:02:55.805" v="1080" actId="20577"/>
        <pc:sldMkLst>
          <pc:docMk/>
          <pc:sldMk cId="2574895675" sldId="917"/>
        </pc:sldMkLst>
        <pc:spChg chg="mod">
          <ac:chgData name="christophe CHUECOS-FONT" userId="7e57acaa-4bc6-4644-8edc-0ecdded28594" providerId="ADAL" clId="{AEC8F169-53EF-477E-AA87-6479700505CB}" dt="2021-03-24T18:02:55.805" v="1080" actId="20577"/>
          <ac:spMkLst>
            <pc:docMk/>
            <pc:sldMk cId="2574895675" sldId="917"/>
            <ac:spMk id="2" creationId="{AEFCB68E-E041-4E46-A233-3C2208DA32CB}"/>
          </ac:spMkLst>
        </pc:spChg>
        <pc:graphicFrameChg chg="mod modGraphic">
          <ac:chgData name="christophe CHUECOS-FONT" userId="7e57acaa-4bc6-4644-8edc-0ecdded28594" providerId="ADAL" clId="{AEC8F169-53EF-477E-AA87-6479700505CB}" dt="2021-03-24T17:56:15.455" v="719" actId="20577"/>
          <ac:graphicFrameMkLst>
            <pc:docMk/>
            <pc:sldMk cId="2574895675" sldId="917"/>
            <ac:graphicFrameMk id="4" creationId="{8B7C3765-CF61-4673-9715-52D9DB708ADA}"/>
          </ac:graphicFrameMkLst>
        </pc:graphicFrameChg>
      </pc:sldChg>
      <pc:sldChg chg="modSp add mod">
        <pc:chgData name="christophe CHUECOS-FONT" userId="7e57acaa-4bc6-4644-8edc-0ecdded28594" providerId="ADAL" clId="{AEC8F169-53EF-477E-AA87-6479700505CB}" dt="2021-03-24T18:03:02.687" v="1082" actId="20577"/>
        <pc:sldMkLst>
          <pc:docMk/>
          <pc:sldMk cId="3194066504" sldId="918"/>
        </pc:sldMkLst>
        <pc:spChg chg="mod">
          <ac:chgData name="christophe CHUECOS-FONT" userId="7e57acaa-4bc6-4644-8edc-0ecdded28594" providerId="ADAL" clId="{AEC8F169-53EF-477E-AA87-6479700505CB}" dt="2021-03-24T17:56:46.294" v="725" actId="14100"/>
          <ac:spMkLst>
            <pc:docMk/>
            <pc:sldMk cId="3194066504" sldId="918"/>
            <ac:spMk id="2" creationId="{AEFCB68E-E041-4E46-A233-3C2208DA32CB}"/>
          </ac:spMkLst>
        </pc:spChg>
        <pc:graphicFrameChg chg="mod modGraphic">
          <ac:chgData name="christophe CHUECOS-FONT" userId="7e57acaa-4bc6-4644-8edc-0ecdded28594" providerId="ADAL" clId="{AEC8F169-53EF-477E-AA87-6479700505CB}" dt="2021-03-24T18:03:02.687" v="1082" actId="20577"/>
          <ac:graphicFrameMkLst>
            <pc:docMk/>
            <pc:sldMk cId="3194066504" sldId="918"/>
            <ac:graphicFrameMk id="4" creationId="{8B7C3765-CF61-4673-9715-52D9DB708ADA}"/>
          </ac:graphicFrameMkLst>
        </pc:graphicFrameChg>
      </pc:sldChg>
      <pc:sldChg chg="modSp add mod ord">
        <pc:chgData name="christophe CHUECOS-FONT" userId="7e57acaa-4bc6-4644-8edc-0ecdded28594" providerId="ADAL" clId="{AEC8F169-53EF-477E-AA87-6479700505CB}" dt="2021-03-24T18:03:26.725" v="1099" actId="20577"/>
        <pc:sldMkLst>
          <pc:docMk/>
          <pc:sldMk cId="2190585729" sldId="919"/>
        </pc:sldMkLst>
        <pc:spChg chg="mod">
          <ac:chgData name="christophe CHUECOS-FONT" userId="7e57acaa-4bc6-4644-8edc-0ecdded28594" providerId="ADAL" clId="{AEC8F169-53EF-477E-AA87-6479700505CB}" dt="2021-03-24T18:03:17.186" v="1092" actId="6549"/>
          <ac:spMkLst>
            <pc:docMk/>
            <pc:sldMk cId="2190585729" sldId="919"/>
            <ac:spMk id="2" creationId="{AEFCB68E-E041-4E46-A233-3C2208DA32CB}"/>
          </ac:spMkLst>
        </pc:spChg>
        <pc:graphicFrameChg chg="modGraphic">
          <ac:chgData name="christophe CHUECOS-FONT" userId="7e57acaa-4bc6-4644-8edc-0ecdded28594" providerId="ADAL" clId="{AEC8F169-53EF-477E-AA87-6479700505CB}" dt="2021-03-24T18:03:26.725" v="1099" actId="20577"/>
          <ac:graphicFrameMkLst>
            <pc:docMk/>
            <pc:sldMk cId="2190585729" sldId="919"/>
            <ac:graphicFrameMk id="4" creationId="{8B7C3765-CF61-4673-9715-52D9DB708ADA}"/>
          </ac:graphicFrameMkLst>
        </pc:graphicFrameChg>
      </pc:sldChg>
      <pc:sldChg chg="modSp add mod ord">
        <pc:chgData name="christophe CHUECOS-FONT" userId="7e57acaa-4bc6-4644-8edc-0ecdded28594" providerId="ADAL" clId="{AEC8F169-53EF-477E-AA87-6479700505CB}" dt="2021-03-24T18:04:11.729" v="1146" actId="20577"/>
        <pc:sldMkLst>
          <pc:docMk/>
          <pc:sldMk cId="104529388" sldId="920"/>
        </pc:sldMkLst>
        <pc:spChg chg="mod">
          <ac:chgData name="christophe CHUECOS-FONT" userId="7e57acaa-4bc6-4644-8edc-0ecdded28594" providerId="ADAL" clId="{AEC8F169-53EF-477E-AA87-6479700505CB}" dt="2021-03-24T18:02:50.282" v="1079" actId="27636"/>
          <ac:spMkLst>
            <pc:docMk/>
            <pc:sldMk cId="104529388" sldId="920"/>
            <ac:spMk id="2" creationId="{AEFCB68E-E041-4E46-A233-3C2208DA32CB}"/>
          </ac:spMkLst>
        </pc:spChg>
        <pc:graphicFrameChg chg="modGraphic">
          <ac:chgData name="christophe CHUECOS-FONT" userId="7e57acaa-4bc6-4644-8edc-0ecdded28594" providerId="ADAL" clId="{AEC8F169-53EF-477E-AA87-6479700505CB}" dt="2021-03-24T18:04:11.729" v="1146" actId="20577"/>
          <ac:graphicFrameMkLst>
            <pc:docMk/>
            <pc:sldMk cId="104529388" sldId="920"/>
            <ac:graphicFrameMk id="4" creationId="{8B7C3765-CF61-4673-9715-52D9DB708ADA}"/>
          </ac:graphicFrameMkLst>
        </pc:graphicFrameChg>
      </pc:sldChg>
      <pc:sldChg chg="modSp add mod ord">
        <pc:chgData name="christophe CHUECOS-FONT" userId="7e57acaa-4bc6-4644-8edc-0ecdded28594" providerId="ADAL" clId="{AEC8F169-53EF-477E-AA87-6479700505CB}" dt="2021-03-24T18:05:47.650" v="1291" actId="20577"/>
        <pc:sldMkLst>
          <pc:docMk/>
          <pc:sldMk cId="1524639244" sldId="921"/>
        </pc:sldMkLst>
        <pc:spChg chg="mod">
          <ac:chgData name="christophe CHUECOS-FONT" userId="7e57acaa-4bc6-4644-8edc-0ecdded28594" providerId="ADAL" clId="{AEC8F169-53EF-477E-AA87-6479700505CB}" dt="2021-03-24T18:05:47.650" v="1291" actId="20577"/>
          <ac:spMkLst>
            <pc:docMk/>
            <pc:sldMk cId="1524639244" sldId="921"/>
            <ac:spMk id="3" creationId="{9FA71A85-160A-4CFF-9241-BA71D421B86B}"/>
          </ac:spMkLst>
        </pc:spChg>
      </pc:sldChg>
      <pc:sldChg chg="addSp delSp modSp add mod ord setBg">
        <pc:chgData name="christophe CHUECOS-FONT" userId="7e57acaa-4bc6-4644-8edc-0ecdded28594" providerId="ADAL" clId="{AEC8F169-53EF-477E-AA87-6479700505CB}" dt="2021-03-26T11:24:42.452" v="1571" actId="26606"/>
        <pc:sldMkLst>
          <pc:docMk/>
          <pc:sldMk cId="1716390056" sldId="922"/>
        </pc:sldMkLst>
        <pc:spChg chg="mod">
          <ac:chgData name="christophe CHUECOS-FONT" userId="7e57acaa-4bc6-4644-8edc-0ecdded28594" providerId="ADAL" clId="{AEC8F169-53EF-477E-AA87-6479700505CB}" dt="2021-03-26T11:24:42.452" v="1571" actId="26606"/>
          <ac:spMkLst>
            <pc:docMk/>
            <pc:sldMk cId="1716390056" sldId="922"/>
            <ac:spMk id="2" creationId="{41644713-AF21-4543-94FE-A96FEBAA2B11}"/>
          </ac:spMkLst>
        </pc:spChg>
        <pc:spChg chg="add del mod">
          <ac:chgData name="christophe CHUECOS-FONT" userId="7e57acaa-4bc6-4644-8edc-0ecdded28594" providerId="ADAL" clId="{AEC8F169-53EF-477E-AA87-6479700505CB}" dt="2021-03-26T11:13:44.225" v="1358"/>
          <ac:spMkLst>
            <pc:docMk/>
            <pc:sldMk cId="1716390056" sldId="922"/>
            <ac:spMk id="4" creationId="{0D0175D9-7734-4988-9225-21F35DEF1E20}"/>
          </ac:spMkLst>
        </pc:spChg>
        <pc:spChg chg="add">
          <ac:chgData name="christophe CHUECOS-FONT" userId="7e57acaa-4bc6-4644-8edc-0ecdded28594" providerId="ADAL" clId="{AEC8F169-53EF-477E-AA87-6479700505CB}" dt="2021-03-26T11:24:42.452" v="1571" actId="26606"/>
          <ac:spMkLst>
            <pc:docMk/>
            <pc:sldMk cId="1716390056" sldId="922"/>
            <ac:spMk id="7" creationId="{D12DDE76-C203-4047-9998-63900085B5E8}"/>
          </ac:spMkLst>
        </pc:spChg>
        <pc:spChg chg="add del">
          <ac:chgData name="christophe CHUECOS-FONT" userId="7e57acaa-4bc6-4644-8edc-0ecdded28594" providerId="ADAL" clId="{AEC8F169-53EF-477E-AA87-6479700505CB}" dt="2021-03-26T11:24:18.664" v="1568" actId="26606"/>
          <ac:spMkLst>
            <pc:docMk/>
            <pc:sldMk cId="1716390056" sldId="922"/>
            <ac:spMk id="10" creationId="{96918796-2918-40D6-BE3A-4600C47FCD42}"/>
          </ac:spMkLst>
        </pc:spChg>
        <pc:graphicFrameChg chg="add mod modGraphic">
          <ac:chgData name="christophe CHUECOS-FONT" userId="7e57acaa-4bc6-4644-8edc-0ecdded28594" providerId="ADAL" clId="{AEC8F169-53EF-477E-AA87-6479700505CB}" dt="2021-03-26T11:24:42.452" v="1571" actId="26606"/>
          <ac:graphicFrameMkLst>
            <pc:docMk/>
            <pc:sldMk cId="1716390056" sldId="922"/>
            <ac:graphicFrameMk id="5" creationId="{9BF48972-D5B8-45E7-B42C-BD25881C0337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6T11:13:41.281" v="1357" actId="478"/>
          <ac:graphicFrameMkLst>
            <pc:docMk/>
            <pc:sldMk cId="1716390056" sldId="922"/>
            <ac:graphicFrameMk id="9" creationId="{28197CF5-4A66-4B20-AD59-453DC110C409}"/>
          </ac:graphicFrameMkLst>
        </pc:graphicFrameChg>
      </pc:sldChg>
      <pc:sldChg chg="addSp modSp add mod">
        <pc:chgData name="christophe CHUECOS-FONT" userId="7e57acaa-4bc6-4644-8edc-0ecdded28594" providerId="ADAL" clId="{AEC8F169-53EF-477E-AA87-6479700505CB}" dt="2021-03-26T12:04:33.974" v="1951" actId="14100"/>
        <pc:sldMkLst>
          <pc:docMk/>
          <pc:sldMk cId="1401124455" sldId="923"/>
        </pc:sldMkLst>
        <pc:spChg chg="mod">
          <ac:chgData name="christophe CHUECOS-FONT" userId="7e57acaa-4bc6-4644-8edc-0ecdded28594" providerId="ADAL" clId="{AEC8F169-53EF-477E-AA87-6479700505CB}" dt="2021-03-26T12:03:43.077" v="1944" actId="20577"/>
          <ac:spMkLst>
            <pc:docMk/>
            <pc:sldMk cId="1401124455" sldId="923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AEC8F169-53EF-477E-AA87-6479700505CB}" dt="2021-03-26T12:04:33.974" v="1951" actId="14100"/>
          <ac:spMkLst>
            <pc:docMk/>
            <pc:sldMk cId="1401124455" sldId="923"/>
            <ac:spMk id="3" creationId="{9FA71A85-160A-4CFF-9241-BA71D421B86B}"/>
          </ac:spMkLst>
        </pc:spChg>
        <pc:graphicFrameChg chg="add mod modGraphic">
          <ac:chgData name="christophe CHUECOS-FONT" userId="7e57acaa-4bc6-4644-8edc-0ecdded28594" providerId="ADAL" clId="{AEC8F169-53EF-477E-AA87-6479700505CB}" dt="2021-03-26T12:03:38.372" v="1938" actId="14100"/>
          <ac:graphicFrameMkLst>
            <pc:docMk/>
            <pc:sldMk cId="1401124455" sldId="923"/>
            <ac:graphicFrameMk id="4" creationId="{EF0C9E3E-CA63-4010-B8D8-7587302885EA}"/>
          </ac:graphicFrameMkLst>
        </pc:graphicFrameChg>
      </pc:sldChg>
      <pc:sldChg chg="addSp delSp modSp add mod ord">
        <pc:chgData name="christophe CHUECOS-FONT" userId="7e57acaa-4bc6-4644-8edc-0ecdded28594" providerId="ADAL" clId="{AEC8F169-53EF-477E-AA87-6479700505CB}" dt="2021-03-26T11:18:11.596" v="1477" actId="20577"/>
        <pc:sldMkLst>
          <pc:docMk/>
          <pc:sldMk cId="3048182326" sldId="924"/>
        </pc:sldMkLst>
        <pc:spChg chg="mod">
          <ac:chgData name="christophe CHUECOS-FONT" userId="7e57acaa-4bc6-4644-8edc-0ecdded28594" providerId="ADAL" clId="{AEC8F169-53EF-477E-AA87-6479700505CB}" dt="2021-03-26T11:18:11.596" v="1477" actId="20577"/>
          <ac:spMkLst>
            <pc:docMk/>
            <pc:sldMk cId="3048182326" sldId="924"/>
            <ac:spMk id="2" creationId="{41644713-AF21-4543-94FE-A96FEBAA2B11}"/>
          </ac:spMkLst>
        </pc:spChg>
        <pc:spChg chg="add del mod">
          <ac:chgData name="christophe CHUECOS-FONT" userId="7e57acaa-4bc6-4644-8edc-0ecdded28594" providerId="ADAL" clId="{AEC8F169-53EF-477E-AA87-6479700505CB}" dt="2021-03-26T11:16:56.407" v="1448"/>
          <ac:spMkLst>
            <pc:docMk/>
            <pc:sldMk cId="3048182326" sldId="924"/>
            <ac:spMk id="4" creationId="{4435F714-6ED2-4F30-BDE3-781432B3A9B5}"/>
          </ac:spMkLst>
        </pc:spChg>
        <pc:graphicFrameChg chg="del mod modGraphic">
          <ac:chgData name="christophe CHUECOS-FONT" userId="7e57acaa-4bc6-4644-8edc-0ecdded28594" providerId="ADAL" clId="{AEC8F169-53EF-477E-AA87-6479700505CB}" dt="2021-03-26T11:16:43.538" v="1447" actId="21"/>
          <ac:graphicFrameMkLst>
            <pc:docMk/>
            <pc:sldMk cId="3048182326" sldId="924"/>
            <ac:graphicFrameMk id="5" creationId="{9BF48972-D5B8-45E7-B42C-BD25881C0337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17:47.859" v="1463" actId="14100"/>
          <ac:graphicFrameMkLst>
            <pc:docMk/>
            <pc:sldMk cId="3048182326" sldId="924"/>
            <ac:graphicFrameMk id="6" creationId="{F2815B00-360C-44B8-B762-E288FAA7878C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17:56.258" v="1466" actId="14100"/>
          <ac:graphicFrameMkLst>
            <pc:docMk/>
            <pc:sldMk cId="3048182326" sldId="924"/>
            <ac:graphicFrameMk id="7" creationId="{7D46C06A-F446-4379-B147-3AA7F8596C61}"/>
          </ac:graphicFrameMkLst>
        </pc:graphicFrameChg>
      </pc:sldChg>
      <pc:sldChg chg="addSp delSp modSp add mod">
        <pc:chgData name="christophe CHUECOS-FONT" userId="7e57acaa-4bc6-4644-8edc-0ecdded28594" providerId="ADAL" clId="{AEC8F169-53EF-477E-AA87-6479700505CB}" dt="2021-03-26T11:22:03.450" v="1530" actId="20577"/>
        <pc:sldMkLst>
          <pc:docMk/>
          <pc:sldMk cId="365847107" sldId="925"/>
        </pc:sldMkLst>
        <pc:spChg chg="mod">
          <ac:chgData name="christophe CHUECOS-FONT" userId="7e57acaa-4bc6-4644-8edc-0ecdded28594" providerId="ADAL" clId="{AEC8F169-53EF-477E-AA87-6479700505CB}" dt="2021-03-26T11:22:03.450" v="1530" actId="20577"/>
          <ac:spMkLst>
            <pc:docMk/>
            <pc:sldMk cId="365847107" sldId="925"/>
            <ac:spMk id="2" creationId="{41644713-AF21-4543-94FE-A96FEBAA2B11}"/>
          </ac:spMkLst>
        </pc:spChg>
        <pc:spChg chg="add del mod">
          <ac:chgData name="christophe CHUECOS-FONT" userId="7e57acaa-4bc6-4644-8edc-0ecdded28594" providerId="ADAL" clId="{AEC8F169-53EF-477E-AA87-6479700505CB}" dt="2021-03-26T11:19:02.923" v="1483"/>
          <ac:spMkLst>
            <pc:docMk/>
            <pc:sldMk cId="365847107" sldId="925"/>
            <ac:spMk id="4" creationId="{8B00AF06-D371-4FA6-AD77-63B81C61085F}"/>
          </ac:spMkLst>
        </pc:spChg>
        <pc:spChg chg="add mod">
          <ac:chgData name="christophe CHUECOS-FONT" userId="7e57acaa-4bc6-4644-8edc-0ecdded28594" providerId="ADAL" clId="{AEC8F169-53EF-477E-AA87-6479700505CB}" dt="2021-03-26T11:21:50.747" v="1510" actId="1076"/>
          <ac:spMkLst>
            <pc:docMk/>
            <pc:sldMk cId="365847107" sldId="925"/>
            <ac:spMk id="11" creationId="{0CD87A97-CB5C-4428-866E-41CD9018796B}"/>
          </ac:spMkLst>
        </pc:spChg>
        <pc:graphicFrameChg chg="add mod modGraphic">
          <ac:chgData name="christophe CHUECOS-FONT" userId="7e57acaa-4bc6-4644-8edc-0ecdded28594" providerId="ADAL" clId="{AEC8F169-53EF-477E-AA87-6479700505CB}" dt="2021-03-26T11:20:29.753" v="1508" actId="14100"/>
          <ac:graphicFrameMkLst>
            <pc:docMk/>
            <pc:sldMk cId="365847107" sldId="925"/>
            <ac:graphicFrameMk id="5" creationId="{E3D353A5-D217-4E5D-9E6B-6FBB1EE8BFA3}"/>
          </ac:graphicFrameMkLst>
        </pc:graphicFrameChg>
        <pc:graphicFrameChg chg="del modGraphic">
          <ac:chgData name="christophe CHUECOS-FONT" userId="7e57acaa-4bc6-4644-8edc-0ecdded28594" providerId="ADAL" clId="{AEC8F169-53EF-477E-AA87-6479700505CB}" dt="2021-03-26T11:18:50.814" v="1481" actId="21"/>
          <ac:graphicFrameMkLst>
            <pc:docMk/>
            <pc:sldMk cId="365847107" sldId="925"/>
            <ac:graphicFrameMk id="6" creationId="{F2815B00-360C-44B8-B762-E288FAA7878C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6T11:18:55.387" v="1482" actId="21"/>
          <ac:graphicFrameMkLst>
            <pc:docMk/>
            <pc:sldMk cId="365847107" sldId="925"/>
            <ac:graphicFrameMk id="7" creationId="{7D46C06A-F446-4379-B147-3AA7F8596C61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20:13.913" v="1506" actId="1076"/>
          <ac:graphicFrameMkLst>
            <pc:docMk/>
            <pc:sldMk cId="365847107" sldId="925"/>
            <ac:graphicFrameMk id="8" creationId="{E85F6702-FDE4-47A0-9113-8DC4311CF553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20:18.473" v="1507" actId="1076"/>
          <ac:graphicFrameMkLst>
            <pc:docMk/>
            <pc:sldMk cId="365847107" sldId="925"/>
            <ac:graphicFrameMk id="9" creationId="{39C88741-5267-4FA2-AA52-932B0634D138}"/>
          </ac:graphicFrameMkLst>
        </pc:graphicFrameChg>
      </pc:sldChg>
      <pc:sldChg chg="addSp delSp modSp add mod ord">
        <pc:chgData name="christophe CHUECOS-FONT" userId="7e57acaa-4bc6-4644-8edc-0ecdded28594" providerId="ADAL" clId="{AEC8F169-53EF-477E-AA87-6479700505CB}" dt="2021-03-26T11:27:34.749" v="1636" actId="255"/>
        <pc:sldMkLst>
          <pc:docMk/>
          <pc:sldMk cId="4193262036" sldId="926"/>
        </pc:sldMkLst>
        <pc:spChg chg="add del">
          <ac:chgData name="christophe CHUECOS-FONT" userId="7e57acaa-4bc6-4644-8edc-0ecdded28594" providerId="ADAL" clId="{AEC8F169-53EF-477E-AA87-6479700505CB}" dt="2021-03-26T11:25:07.375" v="1573" actId="22"/>
          <ac:spMkLst>
            <pc:docMk/>
            <pc:sldMk cId="4193262036" sldId="926"/>
            <ac:spMk id="5" creationId="{0F487055-DB48-42BC-934E-9648CB72D240}"/>
          </ac:spMkLst>
        </pc:spChg>
        <pc:spChg chg="add del mod">
          <ac:chgData name="christophe CHUECOS-FONT" userId="7e57acaa-4bc6-4644-8edc-0ecdded28594" providerId="ADAL" clId="{AEC8F169-53EF-477E-AA87-6479700505CB}" dt="2021-03-26T11:27:20.087" v="1634" actId="21"/>
          <ac:spMkLst>
            <pc:docMk/>
            <pc:sldMk cId="4193262036" sldId="926"/>
            <ac:spMk id="6" creationId="{372C388E-5506-4B6E-BCE7-09F78BABACA9}"/>
          </ac:spMkLst>
        </pc:spChg>
        <pc:spChg chg="add del mod">
          <ac:chgData name="christophe CHUECOS-FONT" userId="7e57acaa-4bc6-4644-8edc-0ecdded28594" providerId="ADAL" clId="{AEC8F169-53EF-477E-AA87-6479700505CB}" dt="2021-03-26T11:26:26.546" v="1625"/>
          <ac:spMkLst>
            <pc:docMk/>
            <pc:sldMk cId="4193262036" sldId="926"/>
            <ac:spMk id="8" creationId="{91BDBCF7-93FA-41A1-81B1-F8C1C25EFC28}"/>
          </ac:spMkLst>
        </pc:spChg>
        <pc:graphicFrameChg chg="del mod modGraphic">
          <ac:chgData name="christophe CHUECOS-FONT" userId="7e57acaa-4bc6-4644-8edc-0ecdded28594" providerId="ADAL" clId="{AEC8F169-53EF-477E-AA87-6479700505CB}" dt="2021-03-26T11:26:09.916" v="1624" actId="21"/>
          <ac:graphicFrameMkLst>
            <pc:docMk/>
            <pc:sldMk cId="4193262036" sldId="926"/>
            <ac:graphicFrameMk id="4" creationId="{87A75930-C904-4BA5-8DC2-25CEE7078240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27:34.749" v="1636" actId="255"/>
          <ac:graphicFrameMkLst>
            <pc:docMk/>
            <pc:sldMk cId="4193262036" sldId="926"/>
            <ac:graphicFrameMk id="9" creationId="{6435B9A9-5D3A-475B-822D-7D0FAE516D70}"/>
          </ac:graphicFrameMkLst>
        </pc:graphicFrameChg>
      </pc:sldChg>
      <pc:sldChg chg="addSp delSp modSp new mod setBg">
        <pc:chgData name="christophe CHUECOS-FONT" userId="7e57acaa-4bc6-4644-8edc-0ecdded28594" providerId="ADAL" clId="{AEC8F169-53EF-477E-AA87-6479700505CB}" dt="2021-03-26T11:29:51.331" v="1682" actId="20577"/>
        <pc:sldMkLst>
          <pc:docMk/>
          <pc:sldMk cId="792487541" sldId="927"/>
        </pc:sldMkLst>
        <pc:spChg chg="mod">
          <ac:chgData name="christophe CHUECOS-FONT" userId="7e57acaa-4bc6-4644-8edc-0ecdded28594" providerId="ADAL" clId="{AEC8F169-53EF-477E-AA87-6479700505CB}" dt="2021-03-26T11:29:42.474" v="1681" actId="26606"/>
          <ac:spMkLst>
            <pc:docMk/>
            <pc:sldMk cId="792487541" sldId="927"/>
            <ac:spMk id="2" creationId="{AA62327D-CC9C-4792-B7E8-29C31DAC8F00}"/>
          </ac:spMkLst>
        </pc:spChg>
        <pc:spChg chg="del">
          <ac:chgData name="christophe CHUECOS-FONT" userId="7e57acaa-4bc6-4644-8edc-0ecdded28594" providerId="ADAL" clId="{AEC8F169-53EF-477E-AA87-6479700505CB}" dt="2021-03-26T11:27:51.930" v="1638"/>
          <ac:spMkLst>
            <pc:docMk/>
            <pc:sldMk cId="792487541" sldId="927"/>
            <ac:spMk id="3" creationId="{AADDF749-2234-4B13-AD8B-7B6C0F99663D}"/>
          </ac:spMkLst>
        </pc:spChg>
        <pc:spChg chg="add mod">
          <ac:chgData name="christophe CHUECOS-FONT" userId="7e57acaa-4bc6-4644-8edc-0ecdded28594" providerId="ADAL" clId="{AEC8F169-53EF-477E-AA87-6479700505CB}" dt="2021-03-26T11:29:42.474" v="1681" actId="26606"/>
          <ac:spMkLst>
            <pc:docMk/>
            <pc:sldMk cId="792487541" sldId="927"/>
            <ac:spMk id="6" creationId="{279EEEBF-E3F2-440C-8618-5C1FFADB88D0}"/>
          </ac:spMkLst>
        </pc:spChg>
        <pc:spChg chg="add">
          <ac:chgData name="christophe CHUECOS-FONT" userId="7e57acaa-4bc6-4644-8edc-0ecdded28594" providerId="ADAL" clId="{AEC8F169-53EF-477E-AA87-6479700505CB}" dt="2021-03-26T11:29:42.474" v="1681" actId="26606"/>
          <ac:spMkLst>
            <pc:docMk/>
            <pc:sldMk cId="792487541" sldId="927"/>
            <ac:spMk id="11" creationId="{32AEEBC8-9D30-42EF-95F2-386C2653FBF0}"/>
          </ac:spMkLst>
        </pc:spChg>
        <pc:spChg chg="add">
          <ac:chgData name="christophe CHUECOS-FONT" userId="7e57acaa-4bc6-4644-8edc-0ecdded28594" providerId="ADAL" clId="{AEC8F169-53EF-477E-AA87-6479700505CB}" dt="2021-03-26T11:29:42.474" v="1681" actId="26606"/>
          <ac:spMkLst>
            <pc:docMk/>
            <pc:sldMk cId="792487541" sldId="927"/>
            <ac:spMk id="13" creationId="{3529E97A-97C3-40EA-8A04-5C02398D568F}"/>
          </ac:spMkLst>
        </pc:spChg>
        <pc:spChg chg="add">
          <ac:chgData name="christophe CHUECOS-FONT" userId="7e57acaa-4bc6-4644-8edc-0ecdded28594" providerId="ADAL" clId="{AEC8F169-53EF-477E-AA87-6479700505CB}" dt="2021-03-26T11:29:42.474" v="1681" actId="26606"/>
          <ac:spMkLst>
            <pc:docMk/>
            <pc:sldMk cId="792487541" sldId="927"/>
            <ac:spMk id="15" creationId="{59FA8C2E-A5A7-4490-927A-7CD58343EDBB}"/>
          </ac:spMkLst>
        </pc:spChg>
        <pc:graphicFrameChg chg="add mod ord modGraphic">
          <ac:chgData name="christophe CHUECOS-FONT" userId="7e57acaa-4bc6-4644-8edc-0ecdded28594" providerId="ADAL" clId="{AEC8F169-53EF-477E-AA87-6479700505CB}" dt="2021-03-26T11:29:51.331" v="1682" actId="20577"/>
          <ac:graphicFrameMkLst>
            <pc:docMk/>
            <pc:sldMk cId="792487541" sldId="927"/>
            <ac:graphicFrameMk id="4" creationId="{4CE403B7-C723-4D1B-893F-C88CD88819A5}"/>
          </ac:graphicFrameMkLst>
        </pc:graphicFrameChg>
      </pc:sldChg>
      <pc:sldChg chg="modSp add mod ord">
        <pc:chgData name="christophe CHUECOS-FONT" userId="7e57acaa-4bc6-4644-8edc-0ecdded28594" providerId="ADAL" clId="{AEC8F169-53EF-477E-AA87-6479700505CB}" dt="2021-03-26T11:47:26.674" v="1693" actId="20577"/>
        <pc:sldMkLst>
          <pc:docMk/>
          <pc:sldMk cId="1603699342" sldId="928"/>
        </pc:sldMkLst>
        <pc:spChg chg="mod">
          <ac:chgData name="christophe CHUECOS-FONT" userId="7e57acaa-4bc6-4644-8edc-0ecdded28594" providerId="ADAL" clId="{AEC8F169-53EF-477E-AA87-6479700505CB}" dt="2021-03-26T11:47:26.674" v="1693" actId="20577"/>
          <ac:spMkLst>
            <pc:docMk/>
            <pc:sldMk cId="1603699342" sldId="928"/>
            <ac:spMk id="5" creationId="{DFEA2082-E7DE-4453-8158-54F380B94285}"/>
          </ac:spMkLst>
        </pc:spChg>
      </pc:sldChg>
      <pc:sldChg chg="addSp delSp modSp add mod ord">
        <pc:chgData name="christophe CHUECOS-FONT" userId="7e57acaa-4bc6-4644-8edc-0ecdded28594" providerId="ADAL" clId="{AEC8F169-53EF-477E-AA87-6479700505CB}" dt="2021-03-26T11:49:41.533" v="1734" actId="20577"/>
        <pc:sldMkLst>
          <pc:docMk/>
          <pc:sldMk cId="838034858" sldId="929"/>
        </pc:sldMkLst>
        <pc:spChg chg="mod">
          <ac:chgData name="christophe CHUECOS-FONT" userId="7e57acaa-4bc6-4644-8edc-0ecdded28594" providerId="ADAL" clId="{AEC8F169-53EF-477E-AA87-6479700505CB}" dt="2021-03-26T11:49:41.533" v="1734" actId="20577"/>
          <ac:spMkLst>
            <pc:docMk/>
            <pc:sldMk cId="838034858" sldId="929"/>
            <ac:spMk id="2" creationId="{41644713-AF21-4543-94FE-A96FEBAA2B11}"/>
          </ac:spMkLst>
        </pc:spChg>
        <pc:spChg chg="add del mod">
          <ac:chgData name="christophe CHUECOS-FONT" userId="7e57acaa-4bc6-4644-8edc-0ecdded28594" providerId="ADAL" clId="{AEC8F169-53EF-477E-AA87-6479700505CB}" dt="2021-03-26T11:47:53.932" v="1701"/>
          <ac:spMkLst>
            <pc:docMk/>
            <pc:sldMk cId="838034858" sldId="929"/>
            <ac:spMk id="4" creationId="{3133D820-6085-4470-85A7-9B9F5D43FE73}"/>
          </ac:spMkLst>
        </pc:spChg>
        <pc:spChg chg="add mod">
          <ac:chgData name="christophe CHUECOS-FONT" userId="7e57acaa-4bc6-4644-8edc-0ecdded28594" providerId="ADAL" clId="{AEC8F169-53EF-477E-AA87-6479700505CB}" dt="2021-03-26T11:48:46.751" v="1710" actId="255"/>
          <ac:spMkLst>
            <pc:docMk/>
            <pc:sldMk cId="838034858" sldId="929"/>
            <ac:spMk id="9" creationId="{386674B8-23E5-4776-9065-5B640B3F8F6F}"/>
          </ac:spMkLst>
        </pc:spChg>
        <pc:graphicFrameChg chg="add mod modGraphic">
          <ac:chgData name="christophe CHUECOS-FONT" userId="7e57acaa-4bc6-4644-8edc-0ecdded28594" providerId="ADAL" clId="{AEC8F169-53EF-477E-AA87-6479700505CB}" dt="2021-03-26T11:48:19.924" v="1706" actId="255"/>
          <ac:graphicFrameMkLst>
            <pc:docMk/>
            <pc:sldMk cId="838034858" sldId="929"/>
            <ac:graphicFrameMk id="5" creationId="{45F626AC-1F44-4757-B4FD-077685C39AC0}"/>
          </ac:graphicFrameMkLst>
        </pc:graphicFrameChg>
        <pc:graphicFrameChg chg="del modGraphic">
          <ac:chgData name="christophe CHUECOS-FONT" userId="7e57acaa-4bc6-4644-8edc-0ecdded28594" providerId="ADAL" clId="{AEC8F169-53EF-477E-AA87-6479700505CB}" dt="2021-03-26T11:47:43.455" v="1699" actId="21"/>
          <ac:graphicFrameMkLst>
            <pc:docMk/>
            <pc:sldMk cId="838034858" sldId="929"/>
            <ac:graphicFrameMk id="6" creationId="{F2815B00-360C-44B8-B762-E288FAA7878C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6T11:47:46.129" v="1700" actId="21"/>
          <ac:graphicFrameMkLst>
            <pc:docMk/>
            <pc:sldMk cId="838034858" sldId="929"/>
            <ac:graphicFrameMk id="7" creationId="{7D46C06A-F446-4379-B147-3AA7F8596C61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49:21.578" v="1715" actId="255"/>
          <ac:graphicFrameMkLst>
            <pc:docMk/>
            <pc:sldMk cId="838034858" sldId="929"/>
            <ac:graphicFrameMk id="10" creationId="{45AFCB1D-0726-4004-BD1A-A1FB07D0A7B7}"/>
          </ac:graphicFrameMkLst>
        </pc:graphicFrameChg>
      </pc:sldChg>
      <pc:sldChg chg="addSp modSp new mod">
        <pc:chgData name="christophe CHUECOS-FONT" userId="7e57acaa-4bc6-4644-8edc-0ecdded28594" providerId="ADAL" clId="{AEC8F169-53EF-477E-AA87-6479700505CB}" dt="2021-03-26T11:50:52.133" v="1764" actId="20577"/>
        <pc:sldMkLst>
          <pc:docMk/>
          <pc:sldMk cId="2778287842" sldId="930"/>
        </pc:sldMkLst>
        <pc:spChg chg="mod">
          <ac:chgData name="christophe CHUECOS-FONT" userId="7e57acaa-4bc6-4644-8edc-0ecdded28594" providerId="ADAL" clId="{AEC8F169-53EF-477E-AA87-6479700505CB}" dt="2021-03-26T11:50:52.133" v="1764" actId="20577"/>
          <ac:spMkLst>
            <pc:docMk/>
            <pc:sldMk cId="2778287842" sldId="930"/>
            <ac:spMk id="2" creationId="{391A997B-66BC-4EE8-AE60-BABCAC88813D}"/>
          </ac:spMkLst>
        </pc:spChg>
        <pc:spChg chg="mod">
          <ac:chgData name="christophe CHUECOS-FONT" userId="7e57acaa-4bc6-4644-8edc-0ecdded28594" providerId="ADAL" clId="{AEC8F169-53EF-477E-AA87-6479700505CB}" dt="2021-03-26T11:50:36.117" v="1749" actId="27636"/>
          <ac:spMkLst>
            <pc:docMk/>
            <pc:sldMk cId="2778287842" sldId="930"/>
            <ac:spMk id="3" creationId="{14AABC54-2180-4F73-9948-B6849C5F71A0}"/>
          </ac:spMkLst>
        </pc:spChg>
        <pc:graphicFrameChg chg="add mod modGraphic">
          <ac:chgData name="christophe CHUECOS-FONT" userId="7e57acaa-4bc6-4644-8edc-0ecdded28594" providerId="ADAL" clId="{AEC8F169-53EF-477E-AA87-6479700505CB}" dt="2021-03-26T11:50:45.063" v="1750" actId="255"/>
          <ac:graphicFrameMkLst>
            <pc:docMk/>
            <pc:sldMk cId="2778287842" sldId="930"/>
            <ac:graphicFrameMk id="4" creationId="{862D9251-85CF-41C3-A48F-6E8A80B66710}"/>
          </ac:graphicFrameMkLst>
        </pc:graphicFrameChg>
      </pc:sldChg>
      <pc:sldChg chg="addSp delSp modSp new mod">
        <pc:chgData name="christophe CHUECOS-FONT" userId="7e57acaa-4bc6-4644-8edc-0ecdded28594" providerId="ADAL" clId="{AEC8F169-53EF-477E-AA87-6479700505CB}" dt="2021-03-26T11:54:42.955" v="1882" actId="6549"/>
        <pc:sldMkLst>
          <pc:docMk/>
          <pc:sldMk cId="3403650375" sldId="931"/>
        </pc:sldMkLst>
        <pc:spChg chg="mod">
          <ac:chgData name="christophe CHUECOS-FONT" userId="7e57acaa-4bc6-4644-8edc-0ecdded28594" providerId="ADAL" clId="{AEC8F169-53EF-477E-AA87-6479700505CB}" dt="2021-03-26T11:53:57.149" v="1851" actId="20577"/>
          <ac:spMkLst>
            <pc:docMk/>
            <pc:sldMk cId="3403650375" sldId="931"/>
            <ac:spMk id="2" creationId="{30CFB80B-948C-4DCD-B125-E01D1DE2DB4C}"/>
          </ac:spMkLst>
        </pc:spChg>
        <pc:spChg chg="add del">
          <ac:chgData name="christophe CHUECOS-FONT" userId="7e57acaa-4bc6-4644-8edc-0ecdded28594" providerId="ADAL" clId="{AEC8F169-53EF-477E-AA87-6479700505CB}" dt="2021-03-26T11:51:35.878" v="1770"/>
          <ac:spMkLst>
            <pc:docMk/>
            <pc:sldMk cId="3403650375" sldId="931"/>
            <ac:spMk id="3" creationId="{3108CF7B-9719-474E-86CA-D91D666CCB8C}"/>
          </ac:spMkLst>
        </pc:spChg>
        <pc:spChg chg="add del">
          <ac:chgData name="christophe CHUECOS-FONT" userId="7e57acaa-4bc6-4644-8edc-0ecdded28594" providerId="ADAL" clId="{AEC8F169-53EF-477E-AA87-6479700505CB}" dt="2021-03-26T11:51:22.469" v="1769"/>
          <ac:spMkLst>
            <pc:docMk/>
            <pc:sldMk cId="3403650375" sldId="931"/>
            <ac:spMk id="8" creationId="{B06B23A2-AB31-447D-8F99-D9669FD1C205}"/>
          </ac:spMkLst>
        </pc:spChg>
        <pc:spChg chg="add mod">
          <ac:chgData name="christophe CHUECOS-FONT" userId="7e57acaa-4bc6-4644-8edc-0ecdded28594" providerId="ADAL" clId="{AEC8F169-53EF-477E-AA87-6479700505CB}" dt="2021-03-26T11:51:41.858" v="1771" actId="1076"/>
          <ac:spMkLst>
            <pc:docMk/>
            <pc:sldMk cId="3403650375" sldId="931"/>
            <ac:spMk id="11" creationId="{C42D3E78-840F-4ECE-9036-7C20CD6B81EB}"/>
          </ac:spMkLst>
        </pc:spChg>
        <pc:spChg chg="add del mod">
          <ac:chgData name="christophe CHUECOS-FONT" userId="7e57acaa-4bc6-4644-8edc-0ecdded28594" providerId="ADAL" clId="{AEC8F169-53EF-477E-AA87-6479700505CB}" dt="2021-03-26T11:52:16.286" v="1776" actId="21"/>
          <ac:spMkLst>
            <pc:docMk/>
            <pc:sldMk cId="3403650375" sldId="931"/>
            <ac:spMk id="14" creationId="{1C156F43-4834-4CAE-AB3E-493BFFF8B3CE}"/>
          </ac:spMkLst>
        </pc:spChg>
        <pc:graphicFrameChg chg="add del mod">
          <ac:chgData name="christophe CHUECOS-FONT" userId="7e57acaa-4bc6-4644-8edc-0ecdded28594" providerId="ADAL" clId="{AEC8F169-53EF-477E-AA87-6479700505CB}" dt="2021-03-26T11:51:22.469" v="1769"/>
          <ac:graphicFrameMkLst>
            <pc:docMk/>
            <pc:sldMk cId="3403650375" sldId="931"/>
            <ac:graphicFrameMk id="4" creationId="{E885226C-D557-4CAF-9E8C-EF3864B2FE28}"/>
          </ac:graphicFrameMkLst>
        </pc:graphicFrameChg>
        <pc:graphicFrameChg chg="add del mod">
          <ac:chgData name="christophe CHUECOS-FONT" userId="7e57acaa-4bc6-4644-8edc-0ecdded28594" providerId="ADAL" clId="{AEC8F169-53EF-477E-AA87-6479700505CB}" dt="2021-03-26T11:51:22.469" v="1769"/>
          <ac:graphicFrameMkLst>
            <pc:docMk/>
            <pc:sldMk cId="3403650375" sldId="931"/>
            <ac:graphicFrameMk id="5" creationId="{7A33B6FB-79FC-4DC3-8837-9840EB016F1A}"/>
          </ac:graphicFrameMkLst>
        </pc:graphicFrameChg>
        <pc:graphicFrameChg chg="add del mod modGraphic">
          <ac:chgData name="christophe CHUECOS-FONT" userId="7e57acaa-4bc6-4644-8edc-0ecdded28594" providerId="ADAL" clId="{AEC8F169-53EF-477E-AA87-6479700505CB}" dt="2021-03-26T11:51:22.469" v="1769"/>
          <ac:graphicFrameMkLst>
            <pc:docMk/>
            <pc:sldMk cId="3403650375" sldId="931"/>
            <ac:graphicFrameMk id="6" creationId="{F053B3B1-DF7D-4FCC-BB66-6B33873F614C}"/>
          </ac:graphicFrameMkLst>
        </pc:graphicFrameChg>
        <pc:graphicFrameChg chg="add del mod">
          <ac:chgData name="christophe CHUECOS-FONT" userId="7e57acaa-4bc6-4644-8edc-0ecdded28594" providerId="ADAL" clId="{AEC8F169-53EF-477E-AA87-6479700505CB}" dt="2021-03-26T11:51:22.469" v="1769"/>
          <ac:graphicFrameMkLst>
            <pc:docMk/>
            <pc:sldMk cId="3403650375" sldId="931"/>
            <ac:graphicFrameMk id="7" creationId="{62C30E27-2727-42E5-8CCF-607B89546B8D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54:12.423" v="1853" actId="14100"/>
          <ac:graphicFrameMkLst>
            <pc:docMk/>
            <pc:sldMk cId="3403650375" sldId="931"/>
            <ac:graphicFrameMk id="9" creationId="{1E747829-FA88-4678-8487-2DB53727F5E1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53:38.663" v="1796" actId="14100"/>
          <ac:graphicFrameMkLst>
            <pc:docMk/>
            <pc:sldMk cId="3403650375" sldId="931"/>
            <ac:graphicFrameMk id="10" creationId="{53ACA630-92D7-4FD8-BDC2-8C5BCED2DC5F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54:08.010" v="1852" actId="14100"/>
          <ac:graphicFrameMkLst>
            <pc:docMk/>
            <pc:sldMk cId="3403650375" sldId="931"/>
            <ac:graphicFrameMk id="12" creationId="{B371AD77-3665-4473-867C-0A5F047F0211}"/>
          </ac:graphicFrameMkLst>
        </pc:graphicFrameChg>
        <pc:graphicFrameChg chg="add del mod">
          <ac:chgData name="christophe CHUECOS-FONT" userId="7e57acaa-4bc6-4644-8edc-0ecdded28594" providerId="ADAL" clId="{AEC8F169-53EF-477E-AA87-6479700505CB}" dt="2021-03-26T11:52:16.286" v="1776" actId="21"/>
          <ac:graphicFrameMkLst>
            <pc:docMk/>
            <pc:sldMk cId="3403650375" sldId="931"/>
            <ac:graphicFrameMk id="13" creationId="{997058E9-154B-4EB9-A053-0F29EC30A7B1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54:42.955" v="1882" actId="6549"/>
          <ac:graphicFrameMkLst>
            <pc:docMk/>
            <pc:sldMk cId="3403650375" sldId="931"/>
            <ac:graphicFrameMk id="15" creationId="{7F4B5347-7984-4237-AA38-6B1089BEDD49}"/>
          </ac:graphicFrameMkLst>
        </pc:graphicFrameChg>
      </pc:sldChg>
      <pc:sldChg chg="addSp delSp modSp new mod">
        <pc:chgData name="christophe CHUECOS-FONT" userId="7e57acaa-4bc6-4644-8edc-0ecdded28594" providerId="ADAL" clId="{AEC8F169-53EF-477E-AA87-6479700505CB}" dt="2021-03-26T11:58:58.031" v="1925" actId="14734"/>
        <pc:sldMkLst>
          <pc:docMk/>
          <pc:sldMk cId="908281077" sldId="932"/>
        </pc:sldMkLst>
        <pc:spChg chg="add del mod">
          <ac:chgData name="christophe CHUECOS-FONT" userId="7e57acaa-4bc6-4644-8edc-0ecdded28594" providerId="ADAL" clId="{AEC8F169-53EF-477E-AA87-6479700505CB}" dt="2021-03-26T11:58:01.780" v="1914" actId="21"/>
          <ac:spMkLst>
            <pc:docMk/>
            <pc:sldMk cId="908281077" sldId="932"/>
            <ac:spMk id="2" creationId="{F1FE80F6-6378-42DB-BBB8-CCDC7E6ADF9D}"/>
          </ac:spMkLst>
        </pc:spChg>
        <pc:spChg chg="del">
          <ac:chgData name="christophe CHUECOS-FONT" userId="7e57acaa-4bc6-4644-8edc-0ecdded28594" providerId="ADAL" clId="{AEC8F169-53EF-477E-AA87-6479700505CB}" dt="2021-03-26T11:55:10.439" v="1884"/>
          <ac:spMkLst>
            <pc:docMk/>
            <pc:sldMk cId="908281077" sldId="932"/>
            <ac:spMk id="3" creationId="{0D22CECA-B3B1-4778-965F-2363C457A0C0}"/>
          </ac:spMkLst>
        </pc:spChg>
        <pc:graphicFrameChg chg="add mod modGraphic">
          <ac:chgData name="christophe CHUECOS-FONT" userId="7e57acaa-4bc6-4644-8edc-0ecdded28594" providerId="ADAL" clId="{AEC8F169-53EF-477E-AA87-6479700505CB}" dt="2021-03-26T11:58:15.907" v="1919" actId="1076"/>
          <ac:graphicFrameMkLst>
            <pc:docMk/>
            <pc:sldMk cId="908281077" sldId="932"/>
            <ac:graphicFrameMk id="4" creationId="{DDEC20EB-3E45-48F3-BF9C-FB014B1CDC8D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57:15.117" v="1906" actId="14100"/>
          <ac:graphicFrameMkLst>
            <pc:docMk/>
            <pc:sldMk cId="908281077" sldId="932"/>
            <ac:graphicFrameMk id="5" creationId="{003A891D-18A8-4F79-8035-4AF184220B4D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58:11.086" v="1918" actId="1076"/>
          <ac:graphicFrameMkLst>
            <pc:docMk/>
            <pc:sldMk cId="908281077" sldId="932"/>
            <ac:graphicFrameMk id="6" creationId="{837B8EB3-3F8D-4B5F-80F8-A5F6DC2614B5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1:58:58.031" v="1925" actId="14734"/>
          <ac:graphicFrameMkLst>
            <pc:docMk/>
            <pc:sldMk cId="908281077" sldId="932"/>
            <ac:graphicFrameMk id="7" creationId="{963F81F5-128B-4897-B5F8-13508D013333}"/>
          </ac:graphicFrameMkLst>
        </pc:graphicFrameChg>
        <pc:picChg chg="add mod">
          <ac:chgData name="christophe CHUECOS-FONT" userId="7e57acaa-4bc6-4644-8edc-0ecdded28594" providerId="ADAL" clId="{AEC8F169-53EF-477E-AA87-6479700505CB}" dt="2021-03-26T11:58:09.047" v="1917" actId="14100"/>
          <ac:picMkLst>
            <pc:docMk/>
            <pc:sldMk cId="908281077" sldId="932"/>
            <ac:picMk id="8" creationId="{5164A463-B201-4E44-BC57-FF454DE7CC4E}"/>
          </ac:picMkLst>
        </pc:picChg>
      </pc:sldChg>
      <pc:sldChg chg="addSp delSp modSp add mod">
        <pc:chgData name="christophe CHUECOS-FONT" userId="7e57acaa-4bc6-4644-8edc-0ecdded28594" providerId="ADAL" clId="{AEC8F169-53EF-477E-AA87-6479700505CB}" dt="2021-03-26T12:05:26.172" v="1958" actId="14100"/>
        <pc:sldMkLst>
          <pc:docMk/>
          <pc:sldMk cId="388731633" sldId="933"/>
        </pc:sldMkLst>
        <pc:graphicFrameChg chg="del mod modGraphic">
          <ac:chgData name="christophe CHUECOS-FONT" userId="7e57acaa-4bc6-4644-8edc-0ecdded28594" providerId="ADAL" clId="{AEC8F169-53EF-477E-AA87-6479700505CB}" dt="2021-03-26T12:05:09.913" v="1955" actId="21"/>
          <ac:graphicFrameMkLst>
            <pc:docMk/>
            <pc:sldMk cId="388731633" sldId="933"/>
            <ac:graphicFrameMk id="4" creationId="{EF0C9E3E-CA63-4010-B8D8-7587302885EA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2:05:26.172" v="1958" actId="14100"/>
          <ac:graphicFrameMkLst>
            <pc:docMk/>
            <pc:sldMk cId="388731633" sldId="933"/>
            <ac:graphicFrameMk id="5" creationId="{36213E86-B02B-4398-B79E-9982F0B089DB}"/>
          </ac:graphicFrameMkLst>
        </pc:graphicFrameChg>
      </pc:sldChg>
      <pc:sldChg chg="addSp delSp modSp add mod">
        <pc:chgData name="christophe CHUECOS-FONT" userId="7e57acaa-4bc6-4644-8edc-0ecdded28594" providerId="ADAL" clId="{AEC8F169-53EF-477E-AA87-6479700505CB}" dt="2021-03-26T12:06:42.543" v="1970" actId="1076"/>
        <pc:sldMkLst>
          <pc:docMk/>
          <pc:sldMk cId="1994598111" sldId="934"/>
        </pc:sldMkLst>
        <pc:spChg chg="mod">
          <ac:chgData name="christophe CHUECOS-FONT" userId="7e57acaa-4bc6-4644-8edc-0ecdded28594" providerId="ADAL" clId="{AEC8F169-53EF-477E-AA87-6479700505CB}" dt="2021-03-26T12:06:42.543" v="1970" actId="1076"/>
          <ac:spMkLst>
            <pc:docMk/>
            <pc:sldMk cId="1994598111" sldId="934"/>
            <ac:spMk id="3" creationId="{9FA71A85-160A-4CFF-9241-BA71D421B86B}"/>
          </ac:spMkLst>
        </pc:spChg>
        <pc:graphicFrameChg chg="add mod modGraphic">
          <ac:chgData name="christophe CHUECOS-FONT" userId="7e57acaa-4bc6-4644-8edc-0ecdded28594" providerId="ADAL" clId="{AEC8F169-53EF-477E-AA87-6479700505CB}" dt="2021-03-26T12:06:38.970" v="1969" actId="1076"/>
          <ac:graphicFrameMkLst>
            <pc:docMk/>
            <pc:sldMk cId="1994598111" sldId="934"/>
            <ac:graphicFrameMk id="4" creationId="{C17C8142-82CE-49F7-8FAD-961B88248BB6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6T12:05:46.149" v="1962" actId="21"/>
          <ac:graphicFrameMkLst>
            <pc:docMk/>
            <pc:sldMk cId="1994598111" sldId="934"/>
            <ac:graphicFrameMk id="5" creationId="{36213E86-B02B-4398-B79E-9982F0B089DB}"/>
          </ac:graphicFrameMkLst>
        </pc:graphicFrameChg>
      </pc:sldChg>
      <pc:sldChg chg="addSp delSp modSp add mod ord">
        <pc:chgData name="christophe CHUECOS-FONT" userId="7e57acaa-4bc6-4644-8edc-0ecdded28594" providerId="ADAL" clId="{AEC8F169-53EF-477E-AA87-6479700505CB}" dt="2021-03-26T12:07:16.791" v="1978" actId="255"/>
        <pc:sldMkLst>
          <pc:docMk/>
          <pc:sldMk cId="3995244737" sldId="935"/>
        </pc:sldMkLst>
        <pc:graphicFrameChg chg="add mod modGraphic">
          <ac:chgData name="christophe CHUECOS-FONT" userId="7e57acaa-4bc6-4644-8edc-0ecdded28594" providerId="ADAL" clId="{AEC8F169-53EF-477E-AA87-6479700505CB}" dt="2021-03-26T12:07:16.791" v="1978" actId="255"/>
          <ac:graphicFrameMkLst>
            <pc:docMk/>
            <pc:sldMk cId="3995244737" sldId="935"/>
            <ac:graphicFrameMk id="4" creationId="{31341E29-4EF9-4CD4-A113-CE1BC1408EAE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6T12:06:52.494" v="1974" actId="21"/>
          <ac:graphicFrameMkLst>
            <pc:docMk/>
            <pc:sldMk cId="3995244737" sldId="935"/>
            <ac:graphicFrameMk id="5" creationId="{36213E86-B02B-4398-B79E-9982F0B089DB}"/>
          </ac:graphicFrameMkLst>
        </pc:graphicFrameChg>
      </pc:sldChg>
      <pc:sldChg chg="addSp delSp modSp add mod">
        <pc:chgData name="christophe CHUECOS-FONT" userId="7e57acaa-4bc6-4644-8edc-0ecdded28594" providerId="ADAL" clId="{AEC8F169-53EF-477E-AA87-6479700505CB}" dt="2021-03-26T12:07:44.786" v="1983" actId="14100"/>
        <pc:sldMkLst>
          <pc:docMk/>
          <pc:sldMk cId="1796677580" sldId="936"/>
        </pc:sldMkLst>
        <pc:graphicFrameChg chg="del">
          <ac:chgData name="christophe CHUECOS-FONT" userId="7e57acaa-4bc6-4644-8edc-0ecdded28594" providerId="ADAL" clId="{AEC8F169-53EF-477E-AA87-6479700505CB}" dt="2021-03-26T12:07:26.568" v="1980" actId="21"/>
          <ac:graphicFrameMkLst>
            <pc:docMk/>
            <pc:sldMk cId="1796677580" sldId="936"/>
            <ac:graphicFrameMk id="4" creationId="{31341E29-4EF9-4CD4-A113-CE1BC1408EAE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2:07:44.786" v="1983" actId="14100"/>
          <ac:graphicFrameMkLst>
            <pc:docMk/>
            <pc:sldMk cId="1796677580" sldId="936"/>
            <ac:graphicFrameMk id="5" creationId="{5AA6B966-6CC4-4B87-97D1-3182CC969173}"/>
          </ac:graphicFrameMkLst>
        </pc:graphicFrameChg>
      </pc:sldChg>
      <pc:sldChg chg="addSp delSp modSp add mod">
        <pc:chgData name="christophe CHUECOS-FONT" userId="7e57acaa-4bc6-4644-8edc-0ecdded28594" providerId="ADAL" clId="{AEC8F169-53EF-477E-AA87-6479700505CB}" dt="2021-03-26T12:08:16.157" v="1988" actId="14100"/>
        <pc:sldMkLst>
          <pc:docMk/>
          <pc:sldMk cId="3725550176" sldId="937"/>
        </pc:sldMkLst>
        <pc:graphicFrameChg chg="add mod modGraphic">
          <ac:chgData name="christophe CHUECOS-FONT" userId="7e57acaa-4bc6-4644-8edc-0ecdded28594" providerId="ADAL" clId="{AEC8F169-53EF-477E-AA87-6479700505CB}" dt="2021-03-26T12:08:16.157" v="1988" actId="14100"/>
          <ac:graphicFrameMkLst>
            <pc:docMk/>
            <pc:sldMk cId="3725550176" sldId="937"/>
            <ac:graphicFrameMk id="4" creationId="{BBE1DF13-B039-454A-A3E6-FCBDA8CCCC01}"/>
          </ac:graphicFrameMkLst>
        </pc:graphicFrameChg>
        <pc:graphicFrameChg chg="del">
          <ac:chgData name="christophe CHUECOS-FONT" userId="7e57acaa-4bc6-4644-8edc-0ecdded28594" providerId="ADAL" clId="{AEC8F169-53EF-477E-AA87-6479700505CB}" dt="2021-03-26T12:07:53.976" v="1985" actId="21"/>
          <ac:graphicFrameMkLst>
            <pc:docMk/>
            <pc:sldMk cId="3725550176" sldId="937"/>
            <ac:graphicFrameMk id="5" creationId="{5AA6B966-6CC4-4B87-97D1-3182CC969173}"/>
          </ac:graphicFrameMkLst>
        </pc:graphicFrameChg>
      </pc:sldChg>
      <pc:sldChg chg="addSp delSp modSp add mod">
        <pc:chgData name="christophe CHUECOS-FONT" userId="7e57acaa-4bc6-4644-8edc-0ecdded28594" providerId="ADAL" clId="{AEC8F169-53EF-477E-AA87-6479700505CB}" dt="2021-03-26T12:09:10.840" v="1998" actId="14100"/>
        <pc:sldMkLst>
          <pc:docMk/>
          <pc:sldMk cId="69180362" sldId="938"/>
        </pc:sldMkLst>
        <pc:spChg chg="add mod">
          <ac:chgData name="christophe CHUECOS-FONT" userId="7e57acaa-4bc6-4644-8edc-0ecdded28594" providerId="ADAL" clId="{AEC8F169-53EF-477E-AA87-6479700505CB}" dt="2021-03-26T12:08:51.807" v="1995" actId="20577"/>
          <ac:spMkLst>
            <pc:docMk/>
            <pc:sldMk cId="69180362" sldId="938"/>
            <ac:spMk id="8" creationId="{D10E6916-68A2-4418-A5BE-C012CAD7BB92}"/>
          </ac:spMkLst>
        </pc:spChg>
        <pc:graphicFrameChg chg="del">
          <ac:chgData name="christophe CHUECOS-FONT" userId="7e57acaa-4bc6-4644-8edc-0ecdded28594" providerId="ADAL" clId="{AEC8F169-53EF-477E-AA87-6479700505CB}" dt="2021-03-26T12:08:26.938" v="1990" actId="21"/>
          <ac:graphicFrameMkLst>
            <pc:docMk/>
            <pc:sldMk cId="69180362" sldId="938"/>
            <ac:graphicFrameMk id="4" creationId="{BBE1DF13-B039-454A-A3E6-FCBDA8CCCC01}"/>
          </ac:graphicFrameMkLst>
        </pc:graphicFrameChg>
        <pc:graphicFrameChg chg="add mod modGraphic">
          <ac:chgData name="christophe CHUECOS-FONT" userId="7e57acaa-4bc6-4644-8edc-0ecdded28594" providerId="ADAL" clId="{AEC8F169-53EF-477E-AA87-6479700505CB}" dt="2021-03-26T12:09:10.840" v="1998" actId="14100"/>
          <ac:graphicFrameMkLst>
            <pc:docMk/>
            <pc:sldMk cId="69180362" sldId="938"/>
            <ac:graphicFrameMk id="6" creationId="{426880A0-D09A-47D5-ADBB-F04174F4A43D}"/>
          </ac:graphicFrameMkLst>
        </pc:graphicFrameChg>
      </pc:sldChg>
    </pc:docChg>
  </pc:docChgLst>
  <pc:docChgLst>
    <pc:chgData name="christophe CHUECOS-FONT" userId="7e57acaa-4bc6-4644-8edc-0ecdded28594" providerId="ADAL" clId="{95D2721A-88F0-4B82-A753-716B18641ECD}"/>
    <pc:docChg chg="undo custSel addSld delSld modSld sldOrd delMainMaster">
      <pc:chgData name="christophe CHUECOS-FONT" userId="7e57acaa-4bc6-4644-8edc-0ecdded28594" providerId="ADAL" clId="{95D2721A-88F0-4B82-A753-716B18641ECD}" dt="2021-05-05T12:12:09.225" v="5081" actId="20577"/>
      <pc:docMkLst>
        <pc:docMk/>
      </pc:docMkLst>
      <pc:sldChg chg="modSp mod">
        <pc:chgData name="christophe CHUECOS-FONT" userId="7e57acaa-4bc6-4644-8edc-0ecdded28594" providerId="ADAL" clId="{95D2721A-88F0-4B82-A753-716B18641ECD}" dt="2021-05-05T06:31:22.211" v="11" actId="6549"/>
        <pc:sldMkLst>
          <pc:docMk/>
          <pc:sldMk cId="3848639155" sldId="256"/>
        </pc:sldMkLst>
        <pc:spChg chg="mod">
          <ac:chgData name="christophe CHUECOS-FONT" userId="7e57acaa-4bc6-4644-8edc-0ecdded28594" providerId="ADAL" clId="{95D2721A-88F0-4B82-A753-716B18641ECD}" dt="2021-05-05T06:31:22.211" v="11" actId="6549"/>
          <ac:spMkLst>
            <pc:docMk/>
            <pc:sldMk cId="3848639155" sldId="256"/>
            <ac:spMk id="3" creationId="{21349F9F-31B4-41DC-B4DB-C097467B5266}"/>
          </ac:spMkLst>
        </pc:spChg>
      </pc:sldChg>
      <pc:sldChg chg="modSp mod">
        <pc:chgData name="christophe CHUECOS-FONT" userId="7e57acaa-4bc6-4644-8edc-0ecdded28594" providerId="ADAL" clId="{95D2721A-88F0-4B82-A753-716B18641ECD}" dt="2021-05-05T06:34:51.512" v="78" actId="20577"/>
        <pc:sldMkLst>
          <pc:docMk/>
          <pc:sldMk cId="251691404" sldId="276"/>
        </pc:sldMkLst>
        <pc:graphicFrameChg chg="modGraphic">
          <ac:chgData name="christophe CHUECOS-FONT" userId="7e57acaa-4bc6-4644-8edc-0ecdded28594" providerId="ADAL" clId="{95D2721A-88F0-4B82-A753-716B18641ECD}" dt="2021-05-05T06:34:51.512" v="78" actId="20577"/>
          <ac:graphicFrameMkLst>
            <pc:docMk/>
            <pc:sldMk cId="251691404" sldId="276"/>
            <ac:graphicFrameMk id="3" creationId="{90A39BD7-E179-4570-8079-E6A295B49267}"/>
          </ac:graphicFrameMkLst>
        </pc:graphicFrameChg>
      </pc:sldChg>
      <pc:sldChg chg="del">
        <pc:chgData name="christophe CHUECOS-FONT" userId="7e57acaa-4bc6-4644-8edc-0ecdded28594" providerId="ADAL" clId="{95D2721A-88F0-4B82-A753-716B18641ECD}" dt="2021-05-05T06:32:05.722" v="32" actId="47"/>
        <pc:sldMkLst>
          <pc:docMk/>
          <pc:sldMk cId="2127276154" sldId="762"/>
        </pc:sldMkLst>
      </pc:sldChg>
      <pc:sldChg chg="del">
        <pc:chgData name="christophe CHUECOS-FONT" userId="7e57acaa-4bc6-4644-8edc-0ecdded28594" providerId="ADAL" clId="{95D2721A-88F0-4B82-A753-716B18641ECD}" dt="2021-05-05T06:32:07.107" v="33" actId="47"/>
        <pc:sldMkLst>
          <pc:docMk/>
          <pc:sldMk cId="2787990808" sldId="765"/>
        </pc:sldMkLst>
      </pc:sldChg>
      <pc:sldChg chg="del">
        <pc:chgData name="christophe CHUECOS-FONT" userId="7e57acaa-4bc6-4644-8edc-0ecdded28594" providerId="ADAL" clId="{95D2721A-88F0-4B82-A753-716B18641ECD}" dt="2021-05-05T06:32:07.860" v="34" actId="47"/>
        <pc:sldMkLst>
          <pc:docMk/>
          <pc:sldMk cId="3006974179" sldId="766"/>
        </pc:sldMkLst>
      </pc:sldChg>
      <pc:sldChg chg="del">
        <pc:chgData name="christophe CHUECOS-FONT" userId="7e57acaa-4bc6-4644-8edc-0ecdded28594" providerId="ADAL" clId="{95D2721A-88F0-4B82-A753-716B18641ECD}" dt="2021-05-05T06:32:02.537" v="31" actId="47"/>
        <pc:sldMkLst>
          <pc:docMk/>
          <pc:sldMk cId="1603699342" sldId="928"/>
        </pc:sldMkLst>
      </pc:sldChg>
      <pc:sldChg chg="del">
        <pc:chgData name="christophe CHUECOS-FONT" userId="7e57acaa-4bc6-4644-8edc-0ecdded28594" providerId="ADAL" clId="{95D2721A-88F0-4B82-A753-716B18641ECD}" dt="2021-05-05T06:32:12.965" v="35" actId="47"/>
        <pc:sldMkLst>
          <pc:docMk/>
          <pc:sldMk cId="3854939415" sldId="947"/>
        </pc:sldMkLst>
      </pc:sldChg>
      <pc:sldChg chg="del">
        <pc:chgData name="christophe CHUECOS-FONT" userId="7e57acaa-4bc6-4644-8edc-0ecdded28594" providerId="ADAL" clId="{95D2721A-88F0-4B82-A753-716B18641ECD}" dt="2021-05-05T06:32:15.057" v="37" actId="47"/>
        <pc:sldMkLst>
          <pc:docMk/>
          <pc:sldMk cId="145373554" sldId="955"/>
        </pc:sldMkLst>
      </pc:sldChg>
      <pc:sldChg chg="modSp mod">
        <pc:chgData name="christophe CHUECOS-FONT" userId="7e57acaa-4bc6-4644-8edc-0ecdded28594" providerId="ADAL" clId="{95D2721A-88F0-4B82-A753-716B18641ECD}" dt="2021-05-05T06:35:20.897" v="122" actId="20577"/>
        <pc:sldMkLst>
          <pc:docMk/>
          <pc:sldMk cId="116534882" sldId="973"/>
        </pc:sldMkLst>
        <pc:spChg chg="mod">
          <ac:chgData name="christophe CHUECOS-FONT" userId="7e57acaa-4bc6-4644-8edc-0ecdded28594" providerId="ADAL" clId="{95D2721A-88F0-4B82-A753-716B18641ECD}" dt="2021-05-05T06:35:08.309" v="88" actId="20577"/>
          <ac:spMkLst>
            <pc:docMk/>
            <pc:sldMk cId="116534882" sldId="973"/>
            <ac:spMk id="2" creationId="{4CE1063C-26E9-451E-B581-F9094F771F1C}"/>
          </ac:spMkLst>
        </pc:spChg>
        <pc:spChg chg="mod">
          <ac:chgData name="christophe CHUECOS-FONT" userId="7e57acaa-4bc6-4644-8edc-0ecdded28594" providerId="ADAL" clId="{95D2721A-88F0-4B82-A753-716B18641ECD}" dt="2021-05-05T06:35:20.897" v="122" actId="20577"/>
          <ac:spMkLst>
            <pc:docMk/>
            <pc:sldMk cId="116534882" sldId="973"/>
            <ac:spMk id="3" creationId="{4547C894-6E87-49E2-8590-12B2A7E70696}"/>
          </ac:spMkLst>
        </pc:spChg>
      </pc:sldChg>
      <pc:sldChg chg="del">
        <pc:chgData name="christophe CHUECOS-FONT" userId="7e57acaa-4bc6-4644-8edc-0ecdded28594" providerId="ADAL" clId="{95D2721A-88F0-4B82-A753-716B18641ECD}" dt="2021-05-05T06:33:33.536" v="69" actId="47"/>
        <pc:sldMkLst>
          <pc:docMk/>
          <pc:sldMk cId="3834327568" sldId="974"/>
        </pc:sldMkLst>
      </pc:sldChg>
      <pc:sldChg chg="del">
        <pc:chgData name="christophe CHUECOS-FONT" userId="7e57acaa-4bc6-4644-8edc-0ecdded28594" providerId="ADAL" clId="{95D2721A-88F0-4B82-A753-716B18641ECD}" dt="2021-05-05T06:32:14.458" v="36" actId="47"/>
        <pc:sldMkLst>
          <pc:docMk/>
          <pc:sldMk cId="1841325149" sldId="975"/>
        </pc:sldMkLst>
      </pc:sldChg>
      <pc:sldChg chg="modSp add mod ord">
        <pc:chgData name="christophe CHUECOS-FONT" userId="7e57acaa-4bc6-4644-8edc-0ecdded28594" providerId="ADAL" clId="{95D2721A-88F0-4B82-A753-716B18641ECD}" dt="2021-05-05T07:27:22.925" v="1264" actId="20577"/>
        <pc:sldMkLst>
          <pc:docMk/>
          <pc:sldMk cId="3839363393" sldId="975"/>
        </pc:sldMkLst>
        <pc:spChg chg="mod">
          <ac:chgData name="christophe CHUECOS-FONT" userId="7e57acaa-4bc6-4644-8edc-0ecdded28594" providerId="ADAL" clId="{95D2721A-88F0-4B82-A753-716B18641ECD}" dt="2021-05-05T06:35:44.218" v="134" actId="20577"/>
          <ac:spMkLst>
            <pc:docMk/>
            <pc:sldMk cId="3839363393" sldId="975"/>
            <ac:spMk id="2" creationId="{4CE1063C-26E9-451E-B581-F9094F771F1C}"/>
          </ac:spMkLst>
        </pc:spChg>
        <pc:spChg chg="mod">
          <ac:chgData name="christophe CHUECOS-FONT" userId="7e57acaa-4bc6-4644-8edc-0ecdded28594" providerId="ADAL" clId="{95D2721A-88F0-4B82-A753-716B18641ECD}" dt="2021-05-05T07:27:22.925" v="1264" actId="20577"/>
          <ac:spMkLst>
            <pc:docMk/>
            <pc:sldMk cId="3839363393" sldId="975"/>
            <ac:spMk id="3" creationId="{4547C894-6E87-49E2-8590-12B2A7E70696}"/>
          </ac:spMkLst>
        </pc:spChg>
      </pc:sldChg>
      <pc:sldChg chg="addSp modSp new mod setBg">
        <pc:chgData name="christophe CHUECOS-FONT" userId="7e57acaa-4bc6-4644-8edc-0ecdded28594" providerId="ADAL" clId="{95D2721A-88F0-4B82-A753-716B18641ECD}" dt="2021-05-05T06:46:21.479" v="197" actId="115"/>
        <pc:sldMkLst>
          <pc:docMk/>
          <pc:sldMk cId="245787680" sldId="976"/>
        </pc:sldMkLst>
        <pc:spChg chg="mod">
          <ac:chgData name="christophe CHUECOS-FONT" userId="7e57acaa-4bc6-4644-8edc-0ecdded28594" providerId="ADAL" clId="{95D2721A-88F0-4B82-A753-716B18641ECD}" dt="2021-05-05T06:46:05.418" v="193" actId="26606"/>
          <ac:spMkLst>
            <pc:docMk/>
            <pc:sldMk cId="245787680" sldId="976"/>
            <ac:spMk id="2" creationId="{33B0842C-4C1E-4B72-B8DA-63DEA1518BE2}"/>
          </ac:spMkLst>
        </pc:spChg>
        <pc:spChg chg="mod">
          <ac:chgData name="christophe CHUECOS-FONT" userId="7e57acaa-4bc6-4644-8edc-0ecdded28594" providerId="ADAL" clId="{95D2721A-88F0-4B82-A753-716B18641ECD}" dt="2021-05-05T06:46:21.479" v="197" actId="115"/>
          <ac:spMkLst>
            <pc:docMk/>
            <pc:sldMk cId="245787680" sldId="976"/>
            <ac:spMk id="3" creationId="{941643EB-4CF3-437C-9A3A-90F910A5EE17}"/>
          </ac:spMkLst>
        </pc:spChg>
        <pc:spChg chg="add">
          <ac:chgData name="christophe CHUECOS-FONT" userId="7e57acaa-4bc6-4644-8edc-0ecdded28594" providerId="ADAL" clId="{95D2721A-88F0-4B82-A753-716B18641ECD}" dt="2021-05-05T06:46:05.418" v="193" actId="26606"/>
          <ac:spMkLst>
            <pc:docMk/>
            <pc:sldMk cId="245787680" sldId="976"/>
            <ac:spMk id="8" creationId="{100EDD19-6802-4EC3-95CE-CFFAB042CFD6}"/>
          </ac:spMkLst>
        </pc:spChg>
        <pc:spChg chg="add">
          <ac:chgData name="christophe CHUECOS-FONT" userId="7e57acaa-4bc6-4644-8edc-0ecdded28594" providerId="ADAL" clId="{95D2721A-88F0-4B82-A753-716B18641ECD}" dt="2021-05-05T06:46:05.418" v="193" actId="26606"/>
          <ac:spMkLst>
            <pc:docMk/>
            <pc:sldMk cId="245787680" sldId="976"/>
            <ac:spMk id="10" creationId="{DB17E863-922E-4C26-BD64-E8FD41D28661}"/>
          </ac:spMkLst>
        </pc:spChg>
      </pc:sldChg>
      <pc:sldChg chg="del">
        <pc:chgData name="christophe CHUECOS-FONT" userId="7e57acaa-4bc6-4644-8edc-0ecdded28594" providerId="ADAL" clId="{95D2721A-88F0-4B82-A753-716B18641ECD}" dt="2021-05-05T06:32:15.604" v="38" actId="47"/>
        <pc:sldMkLst>
          <pc:docMk/>
          <pc:sldMk cId="2243511648" sldId="976"/>
        </pc:sldMkLst>
      </pc:sldChg>
      <pc:sldChg chg="addSp delSp modSp new mod">
        <pc:chgData name="christophe CHUECOS-FONT" userId="7e57acaa-4bc6-4644-8edc-0ecdded28594" providerId="ADAL" clId="{95D2721A-88F0-4B82-A753-716B18641ECD}" dt="2021-05-05T06:46:58.788" v="205" actId="14100"/>
        <pc:sldMkLst>
          <pc:docMk/>
          <pc:sldMk cId="3632279420" sldId="977"/>
        </pc:sldMkLst>
        <pc:spChg chg="mod">
          <ac:chgData name="christophe CHUECOS-FONT" userId="7e57acaa-4bc6-4644-8edc-0ecdded28594" providerId="ADAL" clId="{95D2721A-88F0-4B82-A753-716B18641ECD}" dt="2021-05-05T06:46:29.361" v="203" actId="20577"/>
          <ac:spMkLst>
            <pc:docMk/>
            <pc:sldMk cId="3632279420" sldId="977"/>
            <ac:spMk id="2" creationId="{477237E8-21DB-4BC5-9184-DCCA20BA3641}"/>
          </ac:spMkLst>
        </pc:spChg>
        <pc:spChg chg="del">
          <ac:chgData name="christophe CHUECOS-FONT" userId="7e57acaa-4bc6-4644-8edc-0ecdded28594" providerId="ADAL" clId="{95D2721A-88F0-4B82-A753-716B18641ECD}" dt="2021-05-05T06:46:56.102" v="204" actId="931"/>
          <ac:spMkLst>
            <pc:docMk/>
            <pc:sldMk cId="3632279420" sldId="977"/>
            <ac:spMk id="3" creationId="{2541D17A-12FB-45DA-959D-530B4AFDEBB1}"/>
          </ac:spMkLst>
        </pc:spChg>
        <pc:picChg chg="add mod">
          <ac:chgData name="christophe CHUECOS-FONT" userId="7e57acaa-4bc6-4644-8edc-0ecdded28594" providerId="ADAL" clId="{95D2721A-88F0-4B82-A753-716B18641ECD}" dt="2021-05-05T06:46:58.788" v="205" actId="14100"/>
          <ac:picMkLst>
            <pc:docMk/>
            <pc:sldMk cId="3632279420" sldId="977"/>
            <ac:picMk id="5" creationId="{0E64DBA3-EBAF-4221-AFBF-F6D5C3B664B7}"/>
          </ac:picMkLst>
        </pc:picChg>
      </pc:sldChg>
      <pc:sldChg chg="addSp delSp modSp new mod">
        <pc:chgData name="christophe CHUECOS-FONT" userId="7e57acaa-4bc6-4644-8edc-0ecdded28594" providerId="ADAL" clId="{95D2721A-88F0-4B82-A753-716B18641ECD}" dt="2021-05-05T07:01:42.016" v="408" actId="313"/>
        <pc:sldMkLst>
          <pc:docMk/>
          <pc:sldMk cId="1302638667" sldId="978"/>
        </pc:sldMkLst>
        <pc:spChg chg="mod">
          <ac:chgData name="christophe CHUECOS-FONT" userId="7e57acaa-4bc6-4644-8edc-0ecdded28594" providerId="ADAL" clId="{95D2721A-88F0-4B82-A753-716B18641ECD}" dt="2021-05-05T07:01:42.016" v="408" actId="313"/>
          <ac:spMkLst>
            <pc:docMk/>
            <pc:sldMk cId="1302638667" sldId="978"/>
            <ac:spMk id="2" creationId="{6CA78689-15AF-4CBC-BA75-0513BA6D2F86}"/>
          </ac:spMkLst>
        </pc:spChg>
        <pc:spChg chg="del">
          <ac:chgData name="christophe CHUECOS-FONT" userId="7e57acaa-4bc6-4644-8edc-0ecdded28594" providerId="ADAL" clId="{95D2721A-88F0-4B82-A753-716B18641ECD}" dt="2021-05-05T06:47:18.052" v="207" actId="931"/>
          <ac:spMkLst>
            <pc:docMk/>
            <pc:sldMk cId="1302638667" sldId="978"/>
            <ac:spMk id="3" creationId="{93BA01EF-44C2-4051-A316-1EBB28E30DE0}"/>
          </ac:spMkLst>
        </pc:spChg>
        <pc:picChg chg="add mod">
          <ac:chgData name="christophe CHUECOS-FONT" userId="7e57acaa-4bc6-4644-8edc-0ecdded28594" providerId="ADAL" clId="{95D2721A-88F0-4B82-A753-716B18641ECD}" dt="2021-05-05T06:47:18.996" v="208" actId="27614"/>
          <ac:picMkLst>
            <pc:docMk/>
            <pc:sldMk cId="1302638667" sldId="978"/>
            <ac:picMk id="5" creationId="{A1B3955C-1E52-4868-88E3-86980AAADFC9}"/>
          </ac:picMkLst>
        </pc:picChg>
      </pc:sldChg>
      <pc:sldChg chg="del">
        <pc:chgData name="christophe CHUECOS-FONT" userId="7e57acaa-4bc6-4644-8edc-0ecdded28594" providerId="ADAL" clId="{95D2721A-88F0-4B82-A753-716B18641ECD}" dt="2021-05-05T06:32:19.037" v="39" actId="47"/>
        <pc:sldMkLst>
          <pc:docMk/>
          <pc:sldMk cId="3188089156" sldId="978"/>
        </pc:sldMkLst>
      </pc:sldChg>
      <pc:sldChg chg="del">
        <pc:chgData name="christophe CHUECOS-FONT" userId="7e57acaa-4bc6-4644-8edc-0ecdded28594" providerId="ADAL" clId="{95D2721A-88F0-4B82-A753-716B18641ECD}" dt="2021-05-05T06:32:19.882" v="40" actId="47"/>
        <pc:sldMkLst>
          <pc:docMk/>
          <pc:sldMk cId="2775532856" sldId="979"/>
        </pc:sldMkLst>
      </pc:sldChg>
      <pc:sldChg chg="addSp delSp modSp new mod">
        <pc:chgData name="christophe CHUECOS-FONT" userId="7e57acaa-4bc6-4644-8edc-0ecdded28594" providerId="ADAL" clId="{95D2721A-88F0-4B82-A753-716B18641ECD}" dt="2021-05-05T07:01:53.923" v="411" actId="14100"/>
        <pc:sldMkLst>
          <pc:docMk/>
          <pc:sldMk cId="3817438619" sldId="979"/>
        </pc:sldMkLst>
        <pc:spChg chg="mod">
          <ac:chgData name="christophe CHUECOS-FONT" userId="7e57acaa-4bc6-4644-8edc-0ecdded28594" providerId="ADAL" clId="{95D2721A-88F0-4B82-A753-716B18641ECD}" dt="2021-05-05T07:01:47.397" v="410" actId="20577"/>
          <ac:spMkLst>
            <pc:docMk/>
            <pc:sldMk cId="3817438619" sldId="979"/>
            <ac:spMk id="2" creationId="{46562DE1-D839-4D29-91A9-F867EDC78AC6}"/>
          </ac:spMkLst>
        </pc:spChg>
        <pc:spChg chg="del">
          <ac:chgData name="christophe CHUECOS-FONT" userId="7e57acaa-4bc6-4644-8edc-0ecdded28594" providerId="ADAL" clId="{95D2721A-88F0-4B82-A753-716B18641ECD}" dt="2021-05-05T06:47:55.446" v="244" actId="931"/>
          <ac:spMkLst>
            <pc:docMk/>
            <pc:sldMk cId="3817438619" sldId="979"/>
            <ac:spMk id="3" creationId="{172A8BAC-5F8F-4F08-A1DB-4001F2FC9BC9}"/>
          </ac:spMkLst>
        </pc:spChg>
        <pc:picChg chg="add mod">
          <ac:chgData name="christophe CHUECOS-FONT" userId="7e57acaa-4bc6-4644-8edc-0ecdded28594" providerId="ADAL" clId="{95D2721A-88F0-4B82-A753-716B18641ECD}" dt="2021-05-05T07:01:53.923" v="411" actId="14100"/>
          <ac:picMkLst>
            <pc:docMk/>
            <pc:sldMk cId="3817438619" sldId="979"/>
            <ac:picMk id="5" creationId="{A28811F8-A801-4074-8F80-39E3CCDB0354}"/>
          </ac:picMkLst>
        </pc:picChg>
      </pc:sldChg>
      <pc:sldChg chg="del">
        <pc:chgData name="christophe CHUECOS-FONT" userId="7e57acaa-4bc6-4644-8edc-0ecdded28594" providerId="ADAL" clId="{95D2721A-88F0-4B82-A753-716B18641ECD}" dt="2021-05-05T06:32:21.008" v="41" actId="47"/>
        <pc:sldMkLst>
          <pc:docMk/>
          <pc:sldMk cId="1581712688" sldId="980"/>
        </pc:sldMkLst>
      </pc:sldChg>
      <pc:sldChg chg="addSp delSp modSp new mod ord setBg">
        <pc:chgData name="christophe CHUECOS-FONT" userId="7e57acaa-4bc6-4644-8edc-0ecdded28594" providerId="ADAL" clId="{95D2721A-88F0-4B82-A753-716B18641ECD}" dt="2021-05-05T06:53:21.525" v="338"/>
        <pc:sldMkLst>
          <pc:docMk/>
          <pc:sldMk cId="3669159483" sldId="980"/>
        </pc:sldMkLst>
        <pc:spChg chg="mod">
          <ac:chgData name="christophe CHUECOS-FONT" userId="7e57acaa-4bc6-4644-8edc-0ecdded28594" providerId="ADAL" clId="{95D2721A-88F0-4B82-A753-716B18641ECD}" dt="2021-05-05T06:52:07.316" v="289" actId="26606"/>
          <ac:spMkLst>
            <pc:docMk/>
            <pc:sldMk cId="3669159483" sldId="980"/>
            <ac:spMk id="2" creationId="{FA5603D1-DB51-4210-BA4B-65CBE278750C}"/>
          </ac:spMkLst>
        </pc:spChg>
        <pc:spChg chg="del mod">
          <ac:chgData name="christophe CHUECOS-FONT" userId="7e57acaa-4bc6-4644-8edc-0ecdded28594" providerId="ADAL" clId="{95D2721A-88F0-4B82-A753-716B18641ECD}" dt="2021-05-05T06:52:07.316" v="289" actId="26606"/>
          <ac:spMkLst>
            <pc:docMk/>
            <pc:sldMk cId="3669159483" sldId="980"/>
            <ac:spMk id="3" creationId="{3891F242-AE49-465C-82E6-3D46F15D0487}"/>
          </ac:spMkLst>
        </pc:spChg>
        <pc:spChg chg="add del">
          <ac:chgData name="christophe CHUECOS-FONT" userId="7e57acaa-4bc6-4644-8edc-0ecdded28594" providerId="ADAL" clId="{95D2721A-88F0-4B82-A753-716B18641ECD}" dt="2021-05-05T06:52:07.300" v="288" actId="26606"/>
          <ac:spMkLst>
            <pc:docMk/>
            <pc:sldMk cId="3669159483" sldId="980"/>
            <ac:spMk id="8" creationId="{777A147A-9ED8-46B4-8660-1B3C2AA880B5}"/>
          </ac:spMkLst>
        </pc:spChg>
        <pc:spChg chg="add">
          <ac:chgData name="christophe CHUECOS-FONT" userId="7e57acaa-4bc6-4644-8edc-0ecdded28594" providerId="ADAL" clId="{95D2721A-88F0-4B82-A753-716B18641ECD}" dt="2021-05-05T06:52:07.316" v="289" actId="26606"/>
          <ac:spMkLst>
            <pc:docMk/>
            <pc:sldMk cId="3669159483" sldId="980"/>
            <ac:spMk id="9" creationId="{7DD77B92-CB36-4B20-A59A-59625E0F08AB}"/>
          </ac:spMkLst>
        </pc:spChg>
        <pc:spChg chg="add del">
          <ac:chgData name="christophe CHUECOS-FONT" userId="7e57acaa-4bc6-4644-8edc-0ecdded28594" providerId="ADAL" clId="{95D2721A-88F0-4B82-A753-716B18641ECD}" dt="2021-05-05T06:52:07.300" v="288" actId="26606"/>
          <ac:spMkLst>
            <pc:docMk/>
            <pc:sldMk cId="3669159483" sldId="980"/>
            <ac:spMk id="10" creationId="{5D6C15A0-C087-4593-8414-2B4EC1CDC3DE}"/>
          </ac:spMkLst>
        </pc:spChg>
        <pc:spChg chg="add">
          <ac:chgData name="christophe CHUECOS-FONT" userId="7e57acaa-4bc6-4644-8edc-0ecdded28594" providerId="ADAL" clId="{95D2721A-88F0-4B82-A753-716B18641ECD}" dt="2021-05-05T06:52:07.316" v="289" actId="26606"/>
          <ac:spMkLst>
            <pc:docMk/>
            <pc:sldMk cId="3669159483" sldId="980"/>
            <ac:spMk id="15" creationId="{2C1BBA94-3F40-40AA-8BB9-E69E25E537C1}"/>
          </ac:spMkLst>
        </pc:spChg>
        <pc:grpChg chg="add">
          <ac:chgData name="christophe CHUECOS-FONT" userId="7e57acaa-4bc6-4644-8edc-0ecdded28594" providerId="ADAL" clId="{95D2721A-88F0-4B82-A753-716B18641ECD}" dt="2021-05-05T06:52:07.316" v="289" actId="26606"/>
          <ac:grpSpMkLst>
            <pc:docMk/>
            <pc:sldMk cId="3669159483" sldId="980"/>
            <ac:grpSpMk id="11" creationId="{B14B560F-9DD7-4302-A60B-EBD3EF59B073}"/>
          </ac:grpSpMkLst>
        </pc:grpChg>
        <pc:graphicFrameChg chg="add mod">
          <ac:chgData name="christophe CHUECOS-FONT" userId="7e57acaa-4bc6-4644-8edc-0ecdded28594" providerId="ADAL" clId="{95D2721A-88F0-4B82-A753-716B18641ECD}" dt="2021-05-05T06:53:07.099" v="336" actId="20577"/>
          <ac:graphicFrameMkLst>
            <pc:docMk/>
            <pc:sldMk cId="3669159483" sldId="980"/>
            <ac:graphicFrameMk id="5" creationId="{EB100AA5-719B-482D-AD64-94AEA13D4417}"/>
          </ac:graphicFrameMkLst>
        </pc:graphicFrameChg>
      </pc:sldChg>
      <pc:sldChg chg="new del">
        <pc:chgData name="christophe CHUECOS-FONT" userId="7e57acaa-4bc6-4644-8edc-0ecdded28594" providerId="ADAL" clId="{95D2721A-88F0-4B82-A753-716B18641ECD}" dt="2021-05-05T06:59:26.629" v="340" actId="47"/>
        <pc:sldMkLst>
          <pc:docMk/>
          <pc:sldMk cId="123222376" sldId="981"/>
        </pc:sldMkLst>
      </pc:sldChg>
      <pc:sldChg chg="addSp delSp modSp new del">
        <pc:chgData name="christophe CHUECOS-FONT" userId="7e57acaa-4bc6-4644-8edc-0ecdded28594" providerId="ADAL" clId="{95D2721A-88F0-4B82-A753-716B18641ECD}" dt="2021-05-05T07:00:07.358" v="343" actId="47"/>
        <pc:sldMkLst>
          <pc:docMk/>
          <pc:sldMk cId="1770979533" sldId="981"/>
        </pc:sldMkLst>
        <pc:spChg chg="del">
          <ac:chgData name="christophe CHUECOS-FONT" userId="7e57acaa-4bc6-4644-8edc-0ecdded28594" providerId="ADAL" clId="{95D2721A-88F0-4B82-A753-716B18641ECD}" dt="2021-05-05T06:59:40.751" v="342" actId="931"/>
          <ac:spMkLst>
            <pc:docMk/>
            <pc:sldMk cId="1770979533" sldId="981"/>
            <ac:spMk id="3" creationId="{39E28DEB-4A87-4154-BD8A-C1D449203A51}"/>
          </ac:spMkLst>
        </pc:spChg>
        <pc:picChg chg="add mod">
          <ac:chgData name="christophe CHUECOS-FONT" userId="7e57acaa-4bc6-4644-8edc-0ecdded28594" providerId="ADAL" clId="{95D2721A-88F0-4B82-A753-716B18641ECD}" dt="2021-05-05T06:59:40.751" v="342" actId="931"/>
          <ac:picMkLst>
            <pc:docMk/>
            <pc:sldMk cId="1770979533" sldId="981"/>
            <ac:picMk id="5" creationId="{BDD27B54-9C0C-4D2E-AE2B-897C55A3392D}"/>
          </ac:picMkLst>
        </pc:picChg>
      </pc:sldChg>
      <pc:sldChg chg="addSp delSp modSp new mod">
        <pc:chgData name="christophe CHUECOS-FONT" userId="7e57acaa-4bc6-4644-8edc-0ecdded28594" providerId="ADAL" clId="{95D2721A-88F0-4B82-A753-716B18641ECD}" dt="2021-05-05T07:03:02.707" v="412"/>
        <pc:sldMkLst>
          <pc:docMk/>
          <pc:sldMk cId="1804279579" sldId="981"/>
        </pc:sldMkLst>
        <pc:spChg chg="mod">
          <ac:chgData name="christophe CHUECOS-FONT" userId="7e57acaa-4bc6-4644-8edc-0ecdded28594" providerId="ADAL" clId="{95D2721A-88F0-4B82-A753-716B18641ECD}" dt="2021-05-05T07:03:02.707" v="412"/>
          <ac:spMkLst>
            <pc:docMk/>
            <pc:sldMk cId="1804279579" sldId="981"/>
            <ac:spMk id="2" creationId="{0DB2A158-E8EB-4CBC-9E60-D27CB7251390}"/>
          </ac:spMkLst>
        </pc:spChg>
        <pc:spChg chg="del">
          <ac:chgData name="christophe CHUECOS-FONT" userId="7e57acaa-4bc6-4644-8edc-0ecdded28594" providerId="ADAL" clId="{95D2721A-88F0-4B82-A753-716B18641ECD}" dt="2021-05-05T07:00:21.462" v="347" actId="931"/>
          <ac:spMkLst>
            <pc:docMk/>
            <pc:sldMk cId="1804279579" sldId="981"/>
            <ac:spMk id="3" creationId="{5C25F172-9277-4374-9C46-AB0E9B90F1AC}"/>
          </ac:spMkLst>
        </pc:spChg>
        <pc:picChg chg="add mod">
          <ac:chgData name="christophe CHUECOS-FONT" userId="7e57acaa-4bc6-4644-8edc-0ecdded28594" providerId="ADAL" clId="{95D2721A-88F0-4B82-A753-716B18641ECD}" dt="2021-05-05T07:00:22.510" v="349" actId="962"/>
          <ac:picMkLst>
            <pc:docMk/>
            <pc:sldMk cId="1804279579" sldId="981"/>
            <ac:picMk id="5" creationId="{0D81B00A-8ED3-4379-87C1-FCE091E7D99E}"/>
          </ac:picMkLst>
        </pc:picChg>
      </pc:sldChg>
      <pc:sldChg chg="add del">
        <pc:chgData name="christophe CHUECOS-FONT" userId="7e57acaa-4bc6-4644-8edc-0ecdded28594" providerId="ADAL" clId="{95D2721A-88F0-4B82-A753-716B18641ECD}" dt="2021-05-05T07:00:13.662" v="345" actId="47"/>
        <pc:sldMkLst>
          <pc:docMk/>
          <pc:sldMk cId="2728154624" sldId="981"/>
        </pc:sldMkLst>
      </pc:sldChg>
      <pc:sldChg chg="addSp delSp modSp new mod">
        <pc:chgData name="christophe CHUECOS-FONT" userId="7e57acaa-4bc6-4644-8edc-0ecdded28594" providerId="ADAL" clId="{95D2721A-88F0-4B82-A753-716B18641ECD}" dt="2021-05-05T07:03:05.478" v="413"/>
        <pc:sldMkLst>
          <pc:docMk/>
          <pc:sldMk cId="391304294" sldId="982"/>
        </pc:sldMkLst>
        <pc:spChg chg="mod">
          <ac:chgData name="christophe CHUECOS-FONT" userId="7e57acaa-4bc6-4644-8edc-0ecdded28594" providerId="ADAL" clId="{95D2721A-88F0-4B82-A753-716B18641ECD}" dt="2021-05-05T07:03:05.478" v="413"/>
          <ac:spMkLst>
            <pc:docMk/>
            <pc:sldMk cId="391304294" sldId="982"/>
            <ac:spMk id="2" creationId="{3079D9E9-43B7-4805-AED3-D036B78210D1}"/>
          </ac:spMkLst>
        </pc:spChg>
        <pc:spChg chg="del">
          <ac:chgData name="christophe CHUECOS-FONT" userId="7e57acaa-4bc6-4644-8edc-0ecdded28594" providerId="ADAL" clId="{95D2721A-88F0-4B82-A753-716B18641ECD}" dt="2021-05-05T07:00:31.409" v="351" actId="931"/>
          <ac:spMkLst>
            <pc:docMk/>
            <pc:sldMk cId="391304294" sldId="982"/>
            <ac:spMk id="3" creationId="{D9AE551D-EA66-469E-B8B6-C3C359447B6F}"/>
          </ac:spMkLst>
        </pc:spChg>
        <pc:picChg chg="add mod">
          <ac:chgData name="christophe CHUECOS-FONT" userId="7e57acaa-4bc6-4644-8edc-0ecdded28594" providerId="ADAL" clId="{95D2721A-88F0-4B82-A753-716B18641ECD}" dt="2021-05-05T07:00:31.409" v="351" actId="931"/>
          <ac:picMkLst>
            <pc:docMk/>
            <pc:sldMk cId="391304294" sldId="982"/>
            <ac:picMk id="5" creationId="{72072218-3AFE-4606-BCC7-19C2D79FBDD1}"/>
          </ac:picMkLst>
        </pc:picChg>
      </pc:sldChg>
      <pc:sldChg chg="addSp delSp modSp new mod">
        <pc:chgData name="christophe CHUECOS-FONT" userId="7e57acaa-4bc6-4644-8edc-0ecdded28594" providerId="ADAL" clId="{95D2721A-88F0-4B82-A753-716B18641ECD}" dt="2021-05-05T07:01:07.804" v="383" actId="20577"/>
        <pc:sldMkLst>
          <pc:docMk/>
          <pc:sldMk cId="4234797045" sldId="983"/>
        </pc:sldMkLst>
        <pc:spChg chg="mod">
          <ac:chgData name="christophe CHUECOS-FONT" userId="7e57acaa-4bc6-4644-8edc-0ecdded28594" providerId="ADAL" clId="{95D2721A-88F0-4B82-A753-716B18641ECD}" dt="2021-05-05T07:01:07.804" v="383" actId="20577"/>
          <ac:spMkLst>
            <pc:docMk/>
            <pc:sldMk cId="4234797045" sldId="983"/>
            <ac:spMk id="2" creationId="{C1428070-036C-4031-BB54-196636C6C09D}"/>
          </ac:spMkLst>
        </pc:spChg>
        <pc:spChg chg="del">
          <ac:chgData name="christophe CHUECOS-FONT" userId="7e57acaa-4bc6-4644-8edc-0ecdded28594" providerId="ADAL" clId="{95D2721A-88F0-4B82-A753-716B18641ECD}" dt="2021-05-05T07:00:44.100" v="353" actId="931"/>
          <ac:spMkLst>
            <pc:docMk/>
            <pc:sldMk cId="4234797045" sldId="983"/>
            <ac:spMk id="3" creationId="{86DD6809-8C3D-40FE-8E8E-9A8F75BE5AE8}"/>
          </ac:spMkLst>
        </pc:spChg>
        <pc:picChg chg="add mod">
          <ac:chgData name="christophe CHUECOS-FONT" userId="7e57acaa-4bc6-4644-8edc-0ecdded28594" providerId="ADAL" clId="{95D2721A-88F0-4B82-A753-716B18641ECD}" dt="2021-05-05T07:00:50.893" v="355" actId="14100"/>
          <ac:picMkLst>
            <pc:docMk/>
            <pc:sldMk cId="4234797045" sldId="983"/>
            <ac:picMk id="5" creationId="{2FFBB11C-26A8-4BC6-B3D0-756B331349B3}"/>
          </ac:picMkLst>
        </pc:picChg>
      </pc:sldChg>
      <pc:sldChg chg="addSp delSp modSp new mod">
        <pc:chgData name="christophe CHUECOS-FONT" userId="7e57acaa-4bc6-4644-8edc-0ecdded28594" providerId="ADAL" clId="{95D2721A-88F0-4B82-A753-716B18641ECD}" dt="2021-05-05T07:08:01.366" v="424" actId="14100"/>
        <pc:sldMkLst>
          <pc:docMk/>
          <pc:sldMk cId="929235241" sldId="984"/>
        </pc:sldMkLst>
        <pc:spChg chg="del mod">
          <ac:chgData name="christophe CHUECOS-FONT" userId="7e57acaa-4bc6-4644-8edc-0ecdded28594" providerId="ADAL" clId="{95D2721A-88F0-4B82-A753-716B18641ECD}" dt="2021-05-05T07:07:55.076" v="422" actId="21"/>
          <ac:spMkLst>
            <pc:docMk/>
            <pc:sldMk cId="929235241" sldId="984"/>
            <ac:spMk id="2" creationId="{60A6FC4C-5EA5-42A3-B56E-A1A86D2B1F6A}"/>
          </ac:spMkLst>
        </pc:spChg>
        <pc:spChg chg="del">
          <ac:chgData name="christophe CHUECOS-FONT" userId="7e57acaa-4bc6-4644-8edc-0ecdded28594" providerId="ADAL" clId="{95D2721A-88F0-4B82-A753-716B18641ECD}" dt="2021-05-05T07:07:42.584" v="415" actId="931"/>
          <ac:spMkLst>
            <pc:docMk/>
            <pc:sldMk cId="929235241" sldId="984"/>
            <ac:spMk id="3" creationId="{D80E52AC-4886-492B-86EF-02DB5C6AEA2E}"/>
          </ac:spMkLst>
        </pc:spChg>
        <pc:picChg chg="add mod">
          <ac:chgData name="christophe CHUECOS-FONT" userId="7e57acaa-4bc6-4644-8edc-0ecdded28594" providerId="ADAL" clId="{95D2721A-88F0-4B82-A753-716B18641ECD}" dt="2021-05-05T07:08:01.366" v="424" actId="14100"/>
          <ac:picMkLst>
            <pc:docMk/>
            <pc:sldMk cId="929235241" sldId="984"/>
            <ac:picMk id="5" creationId="{FBD678D9-89DA-4554-8D55-138F9E7F4C65}"/>
          </ac:picMkLst>
        </pc:picChg>
      </pc:sldChg>
      <pc:sldChg chg="addSp delSp modSp new mod">
        <pc:chgData name="christophe CHUECOS-FONT" userId="7e57acaa-4bc6-4644-8edc-0ecdded28594" providerId="ADAL" clId="{95D2721A-88F0-4B82-A753-716B18641ECD}" dt="2021-05-05T07:08:37.729" v="465" actId="20577"/>
        <pc:sldMkLst>
          <pc:docMk/>
          <pc:sldMk cId="770731597" sldId="985"/>
        </pc:sldMkLst>
        <pc:spChg chg="mod">
          <ac:chgData name="christophe CHUECOS-FONT" userId="7e57acaa-4bc6-4644-8edc-0ecdded28594" providerId="ADAL" clId="{95D2721A-88F0-4B82-A753-716B18641ECD}" dt="2021-05-05T07:08:37.729" v="465" actId="20577"/>
          <ac:spMkLst>
            <pc:docMk/>
            <pc:sldMk cId="770731597" sldId="985"/>
            <ac:spMk id="2" creationId="{79D9AE46-8DB6-4FDC-9304-0C5FDC4329B4}"/>
          </ac:spMkLst>
        </pc:spChg>
        <pc:spChg chg="del">
          <ac:chgData name="christophe CHUECOS-FONT" userId="7e57acaa-4bc6-4644-8edc-0ecdded28594" providerId="ADAL" clId="{95D2721A-88F0-4B82-A753-716B18641ECD}" dt="2021-05-05T07:08:17.882" v="426" actId="931"/>
          <ac:spMkLst>
            <pc:docMk/>
            <pc:sldMk cId="770731597" sldId="985"/>
            <ac:spMk id="3" creationId="{0ED3D291-BC21-4D3C-A28E-4D8A829C0B0B}"/>
          </ac:spMkLst>
        </pc:spChg>
        <pc:picChg chg="add mod">
          <ac:chgData name="christophe CHUECOS-FONT" userId="7e57acaa-4bc6-4644-8edc-0ecdded28594" providerId="ADAL" clId="{95D2721A-88F0-4B82-A753-716B18641ECD}" dt="2021-05-05T07:08:25.550" v="430" actId="14100"/>
          <ac:picMkLst>
            <pc:docMk/>
            <pc:sldMk cId="770731597" sldId="985"/>
            <ac:picMk id="5" creationId="{69AFCC5F-6C92-45E1-A4CE-CA21AAD4C5D0}"/>
          </ac:picMkLst>
        </pc:picChg>
      </pc:sldChg>
      <pc:sldChg chg="addSp delSp modSp new mod">
        <pc:chgData name="christophe CHUECOS-FONT" userId="7e57acaa-4bc6-4644-8edc-0ecdded28594" providerId="ADAL" clId="{95D2721A-88F0-4B82-A753-716B18641ECD}" dt="2021-05-05T07:24:16.016" v="1177" actId="14100"/>
        <pc:sldMkLst>
          <pc:docMk/>
          <pc:sldMk cId="713973642" sldId="986"/>
        </pc:sldMkLst>
        <pc:spChg chg="mod">
          <ac:chgData name="christophe CHUECOS-FONT" userId="7e57acaa-4bc6-4644-8edc-0ecdded28594" providerId="ADAL" clId="{95D2721A-88F0-4B82-A753-716B18641ECD}" dt="2021-05-05T07:24:16.016" v="1177" actId="14100"/>
          <ac:spMkLst>
            <pc:docMk/>
            <pc:sldMk cId="713973642" sldId="986"/>
            <ac:spMk id="2" creationId="{488CFDE9-57DF-4227-9839-5024439D6073}"/>
          </ac:spMkLst>
        </pc:spChg>
        <pc:spChg chg="del">
          <ac:chgData name="christophe CHUECOS-FONT" userId="7e57acaa-4bc6-4644-8edc-0ecdded28594" providerId="ADAL" clId="{95D2721A-88F0-4B82-A753-716B18641ECD}" dt="2021-05-05T07:08:54.990" v="467" actId="931"/>
          <ac:spMkLst>
            <pc:docMk/>
            <pc:sldMk cId="713973642" sldId="986"/>
            <ac:spMk id="3" creationId="{D16265D0-F7AF-41FD-B8EB-16A61ABB70B1}"/>
          </ac:spMkLst>
        </pc:spChg>
        <pc:spChg chg="add mod">
          <ac:chgData name="christophe CHUECOS-FONT" userId="7e57acaa-4bc6-4644-8edc-0ecdded28594" providerId="ADAL" clId="{95D2721A-88F0-4B82-A753-716B18641ECD}" dt="2021-05-05T07:24:07.807" v="1176" actId="20577"/>
          <ac:spMkLst>
            <pc:docMk/>
            <pc:sldMk cId="713973642" sldId="986"/>
            <ac:spMk id="8" creationId="{2108328F-98DF-435C-AAFB-7D5403C19381}"/>
          </ac:spMkLst>
        </pc:spChg>
        <pc:picChg chg="add mod">
          <ac:chgData name="christophe CHUECOS-FONT" userId="7e57acaa-4bc6-4644-8edc-0ecdded28594" providerId="ADAL" clId="{95D2721A-88F0-4B82-A753-716B18641ECD}" dt="2021-05-05T07:15:52.259" v="1158" actId="14100"/>
          <ac:picMkLst>
            <pc:docMk/>
            <pc:sldMk cId="713973642" sldId="986"/>
            <ac:picMk id="5" creationId="{6A4D1C79-5003-4B8F-82D9-C2BB259282E3}"/>
          </ac:picMkLst>
        </pc:picChg>
        <pc:cxnChg chg="add">
          <ac:chgData name="christophe CHUECOS-FONT" userId="7e57acaa-4bc6-4644-8edc-0ecdded28594" providerId="ADAL" clId="{95D2721A-88F0-4B82-A753-716B18641ECD}" dt="2021-05-05T07:23:53.722" v="1159" actId="11529"/>
          <ac:cxnSpMkLst>
            <pc:docMk/>
            <pc:sldMk cId="713973642" sldId="986"/>
            <ac:cxnSpMk id="7" creationId="{345D64BE-9845-4C91-A6E1-09EDB99ADC65}"/>
          </ac:cxnSpMkLst>
        </pc:cxnChg>
      </pc:sldChg>
      <pc:sldChg chg="modSp new mod">
        <pc:chgData name="christophe CHUECOS-FONT" userId="7e57acaa-4bc6-4644-8edc-0ecdded28594" providerId="ADAL" clId="{95D2721A-88F0-4B82-A753-716B18641ECD}" dt="2021-05-05T07:14:58.640" v="1072" actId="13926"/>
        <pc:sldMkLst>
          <pc:docMk/>
          <pc:sldMk cId="891577935" sldId="987"/>
        </pc:sldMkLst>
        <pc:spChg chg="mod">
          <ac:chgData name="christophe CHUECOS-FONT" userId="7e57acaa-4bc6-4644-8edc-0ecdded28594" providerId="ADAL" clId="{95D2721A-88F0-4B82-A753-716B18641ECD}" dt="2021-05-05T07:09:09.382" v="497" actId="20577"/>
          <ac:spMkLst>
            <pc:docMk/>
            <pc:sldMk cId="891577935" sldId="987"/>
            <ac:spMk id="2" creationId="{A6526EB7-72BE-4421-8597-8683660DF4E9}"/>
          </ac:spMkLst>
        </pc:spChg>
        <pc:spChg chg="mod">
          <ac:chgData name="christophe CHUECOS-FONT" userId="7e57acaa-4bc6-4644-8edc-0ecdded28594" providerId="ADAL" clId="{95D2721A-88F0-4B82-A753-716B18641ECD}" dt="2021-05-05T07:14:58.640" v="1072" actId="13926"/>
          <ac:spMkLst>
            <pc:docMk/>
            <pc:sldMk cId="891577935" sldId="987"/>
            <ac:spMk id="3" creationId="{AEC82C3A-40BC-494C-B306-0C5FA4DB4673}"/>
          </ac:spMkLst>
        </pc:spChg>
      </pc:sldChg>
      <pc:sldChg chg="modSp new mod">
        <pc:chgData name="christophe CHUECOS-FONT" userId="7e57acaa-4bc6-4644-8edc-0ecdded28594" providerId="ADAL" clId="{95D2721A-88F0-4B82-A753-716B18641ECD}" dt="2021-05-05T07:15:40.104" v="1155" actId="6549"/>
        <pc:sldMkLst>
          <pc:docMk/>
          <pc:sldMk cId="3739445505" sldId="988"/>
        </pc:sldMkLst>
        <pc:spChg chg="mod">
          <ac:chgData name="christophe CHUECOS-FONT" userId="7e57acaa-4bc6-4644-8edc-0ecdded28594" providerId="ADAL" clId="{95D2721A-88F0-4B82-A753-716B18641ECD}" dt="2021-05-05T07:11:59.677" v="821" actId="20577"/>
          <ac:spMkLst>
            <pc:docMk/>
            <pc:sldMk cId="3739445505" sldId="988"/>
            <ac:spMk id="2" creationId="{CC59EC8F-4220-43E8-B34B-CE46780BD5A2}"/>
          </ac:spMkLst>
        </pc:spChg>
        <pc:spChg chg="mod">
          <ac:chgData name="christophe CHUECOS-FONT" userId="7e57acaa-4bc6-4644-8edc-0ecdded28594" providerId="ADAL" clId="{95D2721A-88F0-4B82-A753-716B18641ECD}" dt="2021-05-05T07:15:40.104" v="1155" actId="6549"/>
          <ac:spMkLst>
            <pc:docMk/>
            <pc:sldMk cId="3739445505" sldId="988"/>
            <ac:spMk id="3" creationId="{DC7B9686-745A-41A3-9A86-67F322430A20}"/>
          </ac:spMkLst>
        </pc:spChg>
      </pc:sldChg>
      <pc:sldChg chg="addSp delSp modSp new mod">
        <pc:chgData name="christophe CHUECOS-FONT" userId="7e57acaa-4bc6-4644-8edc-0ecdded28594" providerId="ADAL" clId="{95D2721A-88F0-4B82-A753-716B18641ECD}" dt="2021-05-05T07:25:29.087" v="1202" actId="20577"/>
        <pc:sldMkLst>
          <pc:docMk/>
          <pc:sldMk cId="738520981" sldId="989"/>
        </pc:sldMkLst>
        <pc:spChg chg="del">
          <ac:chgData name="christophe CHUECOS-FONT" userId="7e57acaa-4bc6-4644-8edc-0ecdded28594" providerId="ADAL" clId="{95D2721A-88F0-4B82-A753-716B18641ECD}" dt="2021-05-05T07:24:42.232" v="1182" actId="21"/>
          <ac:spMkLst>
            <pc:docMk/>
            <pc:sldMk cId="738520981" sldId="989"/>
            <ac:spMk id="2" creationId="{ECFC2108-4A05-4CA3-8327-28ADD8D1F909}"/>
          </ac:spMkLst>
        </pc:spChg>
        <pc:spChg chg="del">
          <ac:chgData name="christophe CHUECOS-FONT" userId="7e57acaa-4bc6-4644-8edc-0ecdded28594" providerId="ADAL" clId="{95D2721A-88F0-4B82-A753-716B18641ECD}" dt="2021-05-05T07:24:37.267" v="1179" actId="931"/>
          <ac:spMkLst>
            <pc:docMk/>
            <pc:sldMk cId="738520981" sldId="989"/>
            <ac:spMk id="3" creationId="{77FC0C4C-0E2B-4E33-B20E-4C802B52428C}"/>
          </ac:spMkLst>
        </pc:spChg>
        <pc:spChg chg="add del mod">
          <ac:chgData name="christophe CHUECOS-FONT" userId="7e57acaa-4bc6-4644-8edc-0ecdded28594" providerId="ADAL" clId="{95D2721A-88F0-4B82-A753-716B18641ECD}" dt="2021-05-05T07:24:55.450" v="1186" actId="931"/>
          <ac:spMkLst>
            <pc:docMk/>
            <pc:sldMk cId="738520981" sldId="989"/>
            <ac:spMk id="7" creationId="{CE046CAB-CA05-42B2-9E47-324B5642E690}"/>
          </ac:spMkLst>
        </pc:spChg>
        <pc:spChg chg="add mod">
          <ac:chgData name="christophe CHUECOS-FONT" userId="7e57acaa-4bc6-4644-8edc-0ecdded28594" providerId="ADAL" clId="{95D2721A-88F0-4B82-A753-716B18641ECD}" dt="2021-05-05T07:25:29.087" v="1202" actId="20577"/>
          <ac:spMkLst>
            <pc:docMk/>
            <pc:sldMk cId="738520981" sldId="989"/>
            <ac:spMk id="12" creationId="{CB679A3A-80DC-4D03-877A-68379AC71C85}"/>
          </ac:spMkLst>
        </pc:spChg>
        <pc:picChg chg="add del mod">
          <ac:chgData name="christophe CHUECOS-FONT" userId="7e57acaa-4bc6-4644-8edc-0ecdded28594" providerId="ADAL" clId="{95D2721A-88F0-4B82-A753-716B18641ECD}" dt="2021-05-05T07:24:51.652" v="1185" actId="478"/>
          <ac:picMkLst>
            <pc:docMk/>
            <pc:sldMk cId="738520981" sldId="989"/>
            <ac:picMk id="5" creationId="{A5527D11-D9E1-43FD-AA08-DCDD2F5CC28C}"/>
          </ac:picMkLst>
        </pc:picChg>
        <pc:picChg chg="add mod">
          <ac:chgData name="christophe CHUECOS-FONT" userId="7e57acaa-4bc6-4644-8edc-0ecdded28594" providerId="ADAL" clId="{95D2721A-88F0-4B82-A753-716B18641ECD}" dt="2021-05-05T07:25:03.118" v="1190" actId="14100"/>
          <ac:picMkLst>
            <pc:docMk/>
            <pc:sldMk cId="738520981" sldId="989"/>
            <ac:picMk id="9" creationId="{9AA3B267-6315-4167-9D7B-285EEF367D7D}"/>
          </ac:picMkLst>
        </pc:picChg>
        <pc:cxnChg chg="add">
          <ac:chgData name="christophe CHUECOS-FONT" userId="7e57acaa-4bc6-4644-8edc-0ecdded28594" providerId="ADAL" clId="{95D2721A-88F0-4B82-A753-716B18641ECD}" dt="2021-05-05T07:25:16.694" v="1191" actId="11529"/>
          <ac:cxnSpMkLst>
            <pc:docMk/>
            <pc:sldMk cId="738520981" sldId="989"/>
            <ac:cxnSpMk id="11" creationId="{57BC4E96-C0D7-470A-9A69-E1819F46E5AD}"/>
          </ac:cxnSpMkLst>
        </pc:cxnChg>
      </pc:sldChg>
      <pc:sldChg chg="modSp new mod">
        <pc:chgData name="christophe CHUECOS-FONT" userId="7e57acaa-4bc6-4644-8edc-0ecdded28594" providerId="ADAL" clId="{95D2721A-88F0-4B82-A753-716B18641ECD}" dt="2021-05-05T09:42:04.679" v="2637" actId="6549"/>
        <pc:sldMkLst>
          <pc:docMk/>
          <pc:sldMk cId="2378321883" sldId="990"/>
        </pc:sldMkLst>
        <pc:spChg chg="mod">
          <ac:chgData name="christophe CHUECOS-FONT" userId="7e57acaa-4bc6-4644-8edc-0ecdded28594" providerId="ADAL" clId="{95D2721A-88F0-4B82-A753-716B18641ECD}" dt="2021-05-05T07:29:49.666" v="1292" actId="20577"/>
          <ac:spMkLst>
            <pc:docMk/>
            <pc:sldMk cId="2378321883" sldId="990"/>
            <ac:spMk id="2" creationId="{86C06169-DBD6-4F7D-B44D-571BAABE3351}"/>
          </ac:spMkLst>
        </pc:spChg>
        <pc:spChg chg="mod">
          <ac:chgData name="christophe CHUECOS-FONT" userId="7e57acaa-4bc6-4644-8edc-0ecdded28594" providerId="ADAL" clId="{95D2721A-88F0-4B82-A753-716B18641ECD}" dt="2021-05-05T09:42:04.679" v="2637" actId="6549"/>
          <ac:spMkLst>
            <pc:docMk/>
            <pc:sldMk cId="2378321883" sldId="990"/>
            <ac:spMk id="3" creationId="{0AC304B4-7069-4E8B-885E-2CB3F0CEF2CD}"/>
          </ac:spMkLst>
        </pc:spChg>
      </pc:sldChg>
      <pc:sldChg chg="modSp add mod ord">
        <pc:chgData name="christophe CHUECOS-FONT" userId="7e57acaa-4bc6-4644-8edc-0ecdded28594" providerId="ADAL" clId="{95D2721A-88F0-4B82-A753-716B18641ECD}" dt="2021-05-05T07:29:38.780" v="1277" actId="20577"/>
        <pc:sldMkLst>
          <pc:docMk/>
          <pc:sldMk cId="1157806998" sldId="991"/>
        </pc:sldMkLst>
        <pc:spChg chg="mod">
          <ac:chgData name="christophe CHUECOS-FONT" userId="7e57acaa-4bc6-4644-8edc-0ecdded28594" providerId="ADAL" clId="{95D2721A-88F0-4B82-A753-716B18641ECD}" dt="2021-05-05T07:29:38.780" v="1277" actId="20577"/>
          <ac:spMkLst>
            <pc:docMk/>
            <pc:sldMk cId="1157806998" sldId="991"/>
            <ac:spMk id="2" creationId="{4CE1063C-26E9-451E-B581-F9094F771F1C}"/>
          </ac:spMkLst>
        </pc:spChg>
        <pc:spChg chg="mod">
          <ac:chgData name="christophe CHUECOS-FONT" userId="7e57acaa-4bc6-4644-8edc-0ecdded28594" providerId="ADAL" clId="{95D2721A-88F0-4B82-A753-716B18641ECD}" dt="2021-05-05T07:26:55.752" v="1230" actId="20577"/>
          <ac:spMkLst>
            <pc:docMk/>
            <pc:sldMk cId="1157806998" sldId="991"/>
            <ac:spMk id="3" creationId="{4547C894-6E87-49E2-8590-12B2A7E70696}"/>
          </ac:spMkLst>
        </pc:spChg>
      </pc:sldChg>
      <pc:sldChg chg="new del">
        <pc:chgData name="christophe CHUECOS-FONT" userId="7e57acaa-4bc6-4644-8edc-0ecdded28594" providerId="ADAL" clId="{95D2721A-88F0-4B82-A753-716B18641ECD}" dt="2021-05-05T07:26:34.859" v="1205" actId="47"/>
        <pc:sldMkLst>
          <pc:docMk/>
          <pc:sldMk cId="1515613245" sldId="991"/>
        </pc:sldMkLst>
      </pc:sldChg>
      <pc:sldChg chg="modSp new mod">
        <pc:chgData name="christophe CHUECOS-FONT" userId="7e57acaa-4bc6-4644-8edc-0ecdded28594" providerId="ADAL" clId="{95D2721A-88F0-4B82-A753-716B18641ECD}" dt="2021-05-05T10:20:56.906" v="3115" actId="6549"/>
        <pc:sldMkLst>
          <pc:docMk/>
          <pc:sldMk cId="2062266518" sldId="992"/>
        </pc:sldMkLst>
        <pc:spChg chg="mod">
          <ac:chgData name="christophe CHUECOS-FONT" userId="7e57acaa-4bc6-4644-8edc-0ecdded28594" providerId="ADAL" clId="{95D2721A-88F0-4B82-A753-716B18641ECD}" dt="2021-05-05T08:17:52.706" v="1406" actId="20577"/>
          <ac:spMkLst>
            <pc:docMk/>
            <pc:sldMk cId="2062266518" sldId="992"/>
            <ac:spMk id="2" creationId="{F8A9D20C-5A36-412F-8686-11A1EF98DD10}"/>
          </ac:spMkLst>
        </pc:spChg>
        <pc:spChg chg="mod">
          <ac:chgData name="christophe CHUECOS-FONT" userId="7e57acaa-4bc6-4644-8edc-0ecdded28594" providerId="ADAL" clId="{95D2721A-88F0-4B82-A753-716B18641ECD}" dt="2021-05-05T10:20:56.906" v="3115" actId="6549"/>
          <ac:spMkLst>
            <pc:docMk/>
            <pc:sldMk cId="2062266518" sldId="992"/>
            <ac:spMk id="3" creationId="{A45D4732-3D71-486E-BC59-30C6F35A51AB}"/>
          </ac:spMkLst>
        </pc:spChg>
      </pc:sldChg>
      <pc:sldChg chg="modSp new mod">
        <pc:chgData name="christophe CHUECOS-FONT" userId="7e57acaa-4bc6-4644-8edc-0ecdded28594" providerId="ADAL" clId="{95D2721A-88F0-4B82-A753-716B18641ECD}" dt="2021-05-05T10:31:03.135" v="3546" actId="20577"/>
        <pc:sldMkLst>
          <pc:docMk/>
          <pc:sldMk cId="837637174" sldId="993"/>
        </pc:sldMkLst>
        <pc:spChg chg="mod">
          <ac:chgData name="christophe CHUECOS-FONT" userId="7e57acaa-4bc6-4644-8edc-0ecdded28594" providerId="ADAL" clId="{95D2721A-88F0-4B82-A753-716B18641ECD}" dt="2021-05-05T08:17:48.777" v="1404" actId="20577"/>
          <ac:spMkLst>
            <pc:docMk/>
            <pc:sldMk cId="837637174" sldId="993"/>
            <ac:spMk id="2" creationId="{000120C5-9A6D-4554-9515-556FBF8DDCF0}"/>
          </ac:spMkLst>
        </pc:spChg>
        <pc:spChg chg="mod">
          <ac:chgData name="christophe CHUECOS-FONT" userId="7e57acaa-4bc6-4644-8edc-0ecdded28594" providerId="ADAL" clId="{95D2721A-88F0-4B82-A753-716B18641ECD}" dt="2021-05-05T10:31:03.135" v="3546" actId="20577"/>
          <ac:spMkLst>
            <pc:docMk/>
            <pc:sldMk cId="837637174" sldId="993"/>
            <ac:spMk id="3" creationId="{6A3C116D-202B-4A93-9DC8-4CB6D255537E}"/>
          </ac:spMkLst>
        </pc:spChg>
      </pc:sldChg>
      <pc:sldChg chg="modSp new mod">
        <pc:chgData name="christophe CHUECOS-FONT" userId="7e57acaa-4bc6-4644-8edc-0ecdded28594" providerId="ADAL" clId="{95D2721A-88F0-4B82-A753-716B18641ECD}" dt="2021-05-05T12:04:56.883" v="4731" actId="6549"/>
        <pc:sldMkLst>
          <pc:docMk/>
          <pc:sldMk cId="1310946563" sldId="994"/>
        </pc:sldMkLst>
        <pc:spChg chg="mod">
          <ac:chgData name="christophe CHUECOS-FONT" userId="7e57acaa-4bc6-4644-8edc-0ecdded28594" providerId="ADAL" clId="{95D2721A-88F0-4B82-A753-716B18641ECD}" dt="2021-05-05T08:37:55.033" v="1760" actId="20577"/>
          <ac:spMkLst>
            <pc:docMk/>
            <pc:sldMk cId="1310946563" sldId="994"/>
            <ac:spMk id="2" creationId="{328FB060-F83B-4761-9999-233D8EFBF611}"/>
          </ac:spMkLst>
        </pc:spChg>
        <pc:spChg chg="mod">
          <ac:chgData name="christophe CHUECOS-FONT" userId="7e57acaa-4bc6-4644-8edc-0ecdded28594" providerId="ADAL" clId="{95D2721A-88F0-4B82-A753-716B18641ECD}" dt="2021-05-05T12:04:56.883" v="4731" actId="6549"/>
          <ac:spMkLst>
            <pc:docMk/>
            <pc:sldMk cId="1310946563" sldId="994"/>
            <ac:spMk id="3" creationId="{9C0AB576-1AB1-436B-9FB0-2E1E209A852B}"/>
          </ac:spMkLst>
        </pc:spChg>
      </pc:sldChg>
      <pc:sldChg chg="addSp delSp modSp new del mod">
        <pc:chgData name="christophe CHUECOS-FONT" userId="7e57acaa-4bc6-4644-8edc-0ecdded28594" providerId="ADAL" clId="{95D2721A-88F0-4B82-A753-716B18641ECD}" dt="2021-05-05T10:02:29.567" v="2725" actId="47"/>
        <pc:sldMkLst>
          <pc:docMk/>
          <pc:sldMk cId="3431769608" sldId="995"/>
        </pc:sldMkLst>
        <pc:spChg chg="del mod">
          <ac:chgData name="christophe CHUECOS-FONT" userId="7e57acaa-4bc6-4644-8edc-0ecdded28594" providerId="ADAL" clId="{95D2721A-88F0-4B82-A753-716B18641ECD}" dt="2021-05-05T08:48:23.517" v="1773" actId="22"/>
          <ac:spMkLst>
            <pc:docMk/>
            <pc:sldMk cId="3431769608" sldId="995"/>
            <ac:spMk id="3" creationId="{8652B112-F61E-4068-A9C4-F5FCB6599F5E}"/>
          </ac:spMkLst>
        </pc:spChg>
        <pc:spChg chg="add del mod">
          <ac:chgData name="christophe CHUECOS-FONT" userId="7e57acaa-4bc6-4644-8edc-0ecdded28594" providerId="ADAL" clId="{95D2721A-88F0-4B82-A753-716B18641ECD}" dt="2021-05-05T08:51:43.554" v="1778"/>
          <ac:spMkLst>
            <pc:docMk/>
            <pc:sldMk cId="3431769608" sldId="995"/>
            <ac:spMk id="7" creationId="{C3A5629F-20DB-409C-B273-61E9128360CA}"/>
          </ac:spMkLst>
        </pc:spChg>
        <pc:graphicFrameChg chg="add mod modGraphic">
          <ac:chgData name="christophe CHUECOS-FONT" userId="7e57acaa-4bc6-4644-8edc-0ecdded28594" providerId="ADAL" clId="{95D2721A-88F0-4B82-A753-716B18641ECD}" dt="2021-05-05T09:24:57.720" v="2085" actId="20577"/>
          <ac:graphicFrameMkLst>
            <pc:docMk/>
            <pc:sldMk cId="3431769608" sldId="995"/>
            <ac:graphicFrameMk id="8" creationId="{B6FDECB9-C275-42ED-BE11-1F1509FC670F}"/>
          </ac:graphicFrameMkLst>
        </pc:graphicFrameChg>
        <pc:picChg chg="add del mod ord">
          <ac:chgData name="christophe CHUECOS-FONT" userId="7e57acaa-4bc6-4644-8edc-0ecdded28594" providerId="ADAL" clId="{95D2721A-88F0-4B82-A753-716B18641ECD}" dt="2021-05-05T08:48:27.988" v="1774" actId="478"/>
          <ac:picMkLst>
            <pc:docMk/>
            <pc:sldMk cId="3431769608" sldId="995"/>
            <ac:picMk id="5" creationId="{CD94D474-87C1-43DC-AA6B-982FDE4B17B9}"/>
          </ac:picMkLst>
        </pc:picChg>
      </pc:sldChg>
      <pc:sldChg chg="addSp delSp modSp new mod">
        <pc:chgData name="christophe CHUECOS-FONT" userId="7e57acaa-4bc6-4644-8edc-0ecdded28594" providerId="ADAL" clId="{95D2721A-88F0-4B82-A753-716B18641ECD}" dt="2021-05-05T10:15:24.964" v="2882" actId="20577"/>
        <pc:sldMkLst>
          <pc:docMk/>
          <pc:sldMk cId="2676134656" sldId="996"/>
        </pc:sldMkLst>
        <pc:spChg chg="mod">
          <ac:chgData name="christophe CHUECOS-FONT" userId="7e57acaa-4bc6-4644-8edc-0ecdded28594" providerId="ADAL" clId="{95D2721A-88F0-4B82-A753-716B18641ECD}" dt="2021-05-05T10:02:41.280" v="2726"/>
          <ac:spMkLst>
            <pc:docMk/>
            <pc:sldMk cId="2676134656" sldId="996"/>
            <ac:spMk id="2" creationId="{96A9C45A-957D-4C0B-B478-0261C60B7255}"/>
          </ac:spMkLst>
        </pc:spChg>
        <pc:spChg chg="del">
          <ac:chgData name="christophe CHUECOS-FONT" userId="7e57acaa-4bc6-4644-8edc-0ecdded28594" providerId="ADAL" clId="{95D2721A-88F0-4B82-A753-716B18641ECD}" dt="2021-05-05T10:12:52.397" v="2788"/>
          <ac:spMkLst>
            <pc:docMk/>
            <pc:sldMk cId="2676134656" sldId="996"/>
            <ac:spMk id="3" creationId="{E608DFE8-2CA5-40F4-B129-21D3C1B2ACDD}"/>
          </ac:spMkLst>
        </pc:spChg>
        <pc:graphicFrameChg chg="add mod modGraphic">
          <ac:chgData name="christophe CHUECOS-FONT" userId="7e57acaa-4bc6-4644-8edc-0ecdded28594" providerId="ADAL" clId="{95D2721A-88F0-4B82-A753-716B18641ECD}" dt="2021-05-05T10:15:24.964" v="2882" actId="20577"/>
          <ac:graphicFrameMkLst>
            <pc:docMk/>
            <pc:sldMk cId="2676134656" sldId="996"/>
            <ac:graphicFrameMk id="4" creationId="{EC099C48-AC90-436A-8D9F-6079FE495D89}"/>
          </ac:graphicFrameMkLst>
        </pc:graphicFrameChg>
      </pc:sldChg>
      <pc:sldChg chg="addSp delSp modSp new mod">
        <pc:chgData name="christophe CHUECOS-FONT" userId="7e57acaa-4bc6-4644-8edc-0ecdded28594" providerId="ADAL" clId="{95D2721A-88F0-4B82-A753-716B18641ECD}" dt="2021-05-05T10:24:03.782" v="3253" actId="14734"/>
        <pc:sldMkLst>
          <pc:docMk/>
          <pc:sldMk cId="281292558" sldId="997"/>
        </pc:sldMkLst>
        <pc:spChg chg="mod">
          <ac:chgData name="christophe CHUECOS-FONT" userId="7e57acaa-4bc6-4644-8edc-0ecdded28594" providerId="ADAL" clId="{95D2721A-88F0-4B82-A753-716B18641ECD}" dt="2021-05-05T10:04:55.371" v="2758" actId="14100"/>
          <ac:spMkLst>
            <pc:docMk/>
            <pc:sldMk cId="281292558" sldId="997"/>
            <ac:spMk id="2" creationId="{7DA15F83-CBD4-4C58-B9E1-018944403538}"/>
          </ac:spMkLst>
        </pc:spChg>
        <pc:spChg chg="del">
          <ac:chgData name="christophe CHUECOS-FONT" userId="7e57acaa-4bc6-4644-8edc-0ecdded28594" providerId="ADAL" clId="{95D2721A-88F0-4B82-A753-716B18641ECD}" dt="2021-05-05T10:21:49.752" v="3125"/>
          <ac:spMkLst>
            <pc:docMk/>
            <pc:sldMk cId="281292558" sldId="997"/>
            <ac:spMk id="3" creationId="{B566F049-E9E3-48E1-8BCE-1EEEEEE1BFFA}"/>
          </ac:spMkLst>
        </pc:spChg>
        <pc:graphicFrameChg chg="add mod modGraphic">
          <ac:chgData name="christophe CHUECOS-FONT" userId="7e57acaa-4bc6-4644-8edc-0ecdded28594" providerId="ADAL" clId="{95D2721A-88F0-4B82-A753-716B18641ECD}" dt="2021-05-05T10:24:03.782" v="3253" actId="14734"/>
          <ac:graphicFrameMkLst>
            <pc:docMk/>
            <pc:sldMk cId="281292558" sldId="997"/>
            <ac:graphicFrameMk id="4" creationId="{2EB7A42B-42A4-4BCE-ACA7-AF6362A28BBD}"/>
          </ac:graphicFrameMkLst>
        </pc:graphicFrameChg>
      </pc:sldChg>
      <pc:sldChg chg="addSp delSp modSp new mod">
        <pc:chgData name="christophe CHUECOS-FONT" userId="7e57acaa-4bc6-4644-8edc-0ecdded28594" providerId="ADAL" clId="{95D2721A-88F0-4B82-A753-716B18641ECD}" dt="2021-05-05T09:27:48.451" v="2159" actId="255"/>
        <pc:sldMkLst>
          <pc:docMk/>
          <pc:sldMk cId="1182671936" sldId="998"/>
        </pc:sldMkLst>
        <pc:spChg chg="mod">
          <ac:chgData name="christophe CHUECOS-FONT" userId="7e57acaa-4bc6-4644-8edc-0ecdded28594" providerId="ADAL" clId="{95D2721A-88F0-4B82-A753-716B18641ECD}" dt="2021-05-05T09:25:44.170" v="2102" actId="27636"/>
          <ac:spMkLst>
            <pc:docMk/>
            <pc:sldMk cId="1182671936" sldId="998"/>
            <ac:spMk id="2" creationId="{9B55151D-D356-4DEE-95CC-42D02CE14AD2}"/>
          </ac:spMkLst>
        </pc:spChg>
        <pc:spChg chg="del">
          <ac:chgData name="christophe CHUECOS-FONT" userId="7e57acaa-4bc6-4644-8edc-0ecdded28594" providerId="ADAL" clId="{95D2721A-88F0-4B82-A753-716B18641ECD}" dt="2021-05-05T09:26:16.298" v="2103"/>
          <ac:spMkLst>
            <pc:docMk/>
            <pc:sldMk cId="1182671936" sldId="998"/>
            <ac:spMk id="3" creationId="{9ABBAFAD-A014-4457-92D1-2C61DDF88180}"/>
          </ac:spMkLst>
        </pc:spChg>
        <pc:graphicFrameChg chg="add mod modGraphic">
          <ac:chgData name="christophe CHUECOS-FONT" userId="7e57acaa-4bc6-4644-8edc-0ecdded28594" providerId="ADAL" clId="{95D2721A-88F0-4B82-A753-716B18641ECD}" dt="2021-05-05T09:27:48.451" v="2159" actId="255"/>
          <ac:graphicFrameMkLst>
            <pc:docMk/>
            <pc:sldMk cId="1182671936" sldId="998"/>
            <ac:graphicFrameMk id="4" creationId="{CED21C36-6102-49AC-A35B-B21725F53107}"/>
          </ac:graphicFrameMkLst>
        </pc:graphicFrameChg>
      </pc:sldChg>
      <pc:sldChg chg="addSp delSp modSp new mod">
        <pc:chgData name="christophe CHUECOS-FONT" userId="7e57acaa-4bc6-4644-8edc-0ecdded28594" providerId="ADAL" clId="{95D2721A-88F0-4B82-A753-716B18641ECD}" dt="2021-05-05T09:36:16.070" v="2395" actId="255"/>
        <pc:sldMkLst>
          <pc:docMk/>
          <pc:sldMk cId="1287859364" sldId="999"/>
        </pc:sldMkLst>
        <pc:spChg chg="mod">
          <ac:chgData name="christophe CHUECOS-FONT" userId="7e57acaa-4bc6-4644-8edc-0ecdded28594" providerId="ADAL" clId="{95D2721A-88F0-4B82-A753-716B18641ECD}" dt="2021-05-05T09:30:57.030" v="2166" actId="14100"/>
          <ac:spMkLst>
            <pc:docMk/>
            <pc:sldMk cId="1287859364" sldId="999"/>
            <ac:spMk id="2" creationId="{ED02F4F7-5103-43B4-9236-BEB279DD449C}"/>
          </ac:spMkLst>
        </pc:spChg>
        <pc:spChg chg="del">
          <ac:chgData name="christophe CHUECOS-FONT" userId="7e57acaa-4bc6-4644-8edc-0ecdded28594" providerId="ADAL" clId="{95D2721A-88F0-4B82-A753-716B18641ECD}" dt="2021-05-05T09:30:34.868" v="2161"/>
          <ac:spMkLst>
            <pc:docMk/>
            <pc:sldMk cId="1287859364" sldId="999"/>
            <ac:spMk id="3" creationId="{C97B5000-06B7-469B-91DA-4B53D4874D50}"/>
          </ac:spMkLst>
        </pc:spChg>
        <pc:graphicFrameChg chg="add mod modGraphic">
          <ac:chgData name="christophe CHUECOS-FONT" userId="7e57acaa-4bc6-4644-8edc-0ecdded28594" providerId="ADAL" clId="{95D2721A-88F0-4B82-A753-716B18641ECD}" dt="2021-05-05T09:36:16.070" v="2395" actId="255"/>
          <ac:graphicFrameMkLst>
            <pc:docMk/>
            <pc:sldMk cId="1287859364" sldId="999"/>
            <ac:graphicFrameMk id="4" creationId="{B648CACA-EDB4-4BB7-9740-7B7160AFFC1C}"/>
          </ac:graphicFrameMkLst>
        </pc:graphicFrameChg>
      </pc:sldChg>
      <pc:sldChg chg="addSp delSp modSp new mod">
        <pc:chgData name="christophe CHUECOS-FONT" userId="7e57acaa-4bc6-4644-8edc-0ecdded28594" providerId="ADAL" clId="{95D2721A-88F0-4B82-A753-716B18641ECD}" dt="2021-05-05T09:36:22.705" v="2397" actId="6549"/>
        <pc:sldMkLst>
          <pc:docMk/>
          <pc:sldMk cId="1048706415" sldId="1000"/>
        </pc:sldMkLst>
        <pc:spChg chg="mod">
          <ac:chgData name="christophe CHUECOS-FONT" userId="7e57acaa-4bc6-4644-8edc-0ecdded28594" providerId="ADAL" clId="{95D2721A-88F0-4B82-A753-716B18641ECD}" dt="2021-05-05T09:34:39.330" v="2379" actId="20577"/>
          <ac:spMkLst>
            <pc:docMk/>
            <pc:sldMk cId="1048706415" sldId="1000"/>
            <ac:spMk id="2" creationId="{E51536B6-FDF2-41C5-BC65-FE28CF34FCC7}"/>
          </ac:spMkLst>
        </pc:spChg>
        <pc:spChg chg="del mod">
          <ac:chgData name="christophe CHUECOS-FONT" userId="7e57acaa-4bc6-4644-8edc-0ecdded28594" providerId="ADAL" clId="{95D2721A-88F0-4B82-A753-716B18641ECD}" dt="2021-05-05T09:32:38.328" v="2260"/>
          <ac:spMkLst>
            <pc:docMk/>
            <pc:sldMk cId="1048706415" sldId="1000"/>
            <ac:spMk id="3" creationId="{72E919E8-9DCE-4D30-8799-C73692046D89}"/>
          </ac:spMkLst>
        </pc:spChg>
        <pc:graphicFrameChg chg="add mod modGraphic">
          <ac:chgData name="christophe CHUECOS-FONT" userId="7e57acaa-4bc6-4644-8edc-0ecdded28594" providerId="ADAL" clId="{95D2721A-88F0-4B82-A753-716B18641ECD}" dt="2021-05-05T09:36:22.705" v="2397" actId="6549"/>
          <ac:graphicFrameMkLst>
            <pc:docMk/>
            <pc:sldMk cId="1048706415" sldId="1000"/>
            <ac:graphicFrameMk id="4" creationId="{5B9D3698-7678-4FCD-B6B1-CE0BDBE4D25F}"/>
          </ac:graphicFrameMkLst>
        </pc:graphicFrameChg>
      </pc:sldChg>
      <pc:sldChg chg="addSp delSp modSp new mod">
        <pc:chgData name="christophe CHUECOS-FONT" userId="7e57acaa-4bc6-4644-8edc-0ecdded28594" providerId="ADAL" clId="{95D2721A-88F0-4B82-A753-716B18641ECD}" dt="2021-05-05T09:39:17.070" v="2512" actId="255"/>
        <pc:sldMkLst>
          <pc:docMk/>
          <pc:sldMk cId="289513688" sldId="1001"/>
        </pc:sldMkLst>
        <pc:spChg chg="mod">
          <ac:chgData name="christophe CHUECOS-FONT" userId="7e57acaa-4bc6-4644-8edc-0ecdded28594" providerId="ADAL" clId="{95D2721A-88F0-4B82-A753-716B18641ECD}" dt="2021-05-05T09:38:45.077" v="2505" actId="20577"/>
          <ac:spMkLst>
            <pc:docMk/>
            <pc:sldMk cId="289513688" sldId="1001"/>
            <ac:spMk id="2" creationId="{AAB805C2-5BFA-462D-9379-223322A1668B}"/>
          </ac:spMkLst>
        </pc:spChg>
        <pc:spChg chg="del">
          <ac:chgData name="christophe CHUECOS-FONT" userId="7e57acaa-4bc6-4644-8edc-0ecdded28594" providerId="ADAL" clId="{95D2721A-88F0-4B82-A753-716B18641ECD}" dt="2021-05-05T09:35:35.309" v="2382"/>
          <ac:spMkLst>
            <pc:docMk/>
            <pc:sldMk cId="289513688" sldId="1001"/>
            <ac:spMk id="3" creationId="{936CC834-9371-4C09-8050-0B21E4A9C191}"/>
          </ac:spMkLst>
        </pc:spChg>
        <pc:graphicFrameChg chg="add mod modGraphic">
          <ac:chgData name="christophe CHUECOS-FONT" userId="7e57acaa-4bc6-4644-8edc-0ecdded28594" providerId="ADAL" clId="{95D2721A-88F0-4B82-A753-716B18641ECD}" dt="2021-05-05T09:39:17.070" v="2512" actId="255"/>
          <ac:graphicFrameMkLst>
            <pc:docMk/>
            <pc:sldMk cId="289513688" sldId="1001"/>
            <ac:graphicFrameMk id="4" creationId="{B02F2DF8-8652-4212-AA0D-F3530B409609}"/>
          </ac:graphicFrameMkLst>
        </pc:graphicFrameChg>
      </pc:sldChg>
      <pc:sldChg chg="addSp delSp modSp new mod">
        <pc:chgData name="christophe CHUECOS-FONT" userId="7e57acaa-4bc6-4644-8edc-0ecdded28594" providerId="ADAL" clId="{95D2721A-88F0-4B82-A753-716B18641ECD}" dt="2021-05-05T10:02:26.786" v="2724" actId="255"/>
        <pc:sldMkLst>
          <pc:docMk/>
          <pc:sldMk cId="210085831" sldId="1002"/>
        </pc:sldMkLst>
        <pc:spChg chg="mod">
          <ac:chgData name="christophe CHUECOS-FONT" userId="7e57acaa-4bc6-4644-8edc-0ecdded28594" providerId="ADAL" clId="{95D2721A-88F0-4B82-A753-716B18641ECD}" dt="2021-05-05T10:02:26.786" v="2724" actId="255"/>
          <ac:spMkLst>
            <pc:docMk/>
            <pc:sldMk cId="210085831" sldId="1002"/>
            <ac:spMk id="2" creationId="{E1F26DD9-B3D7-4B03-9C27-BCE7977D1EFC}"/>
          </ac:spMkLst>
        </pc:spChg>
        <pc:spChg chg="del">
          <ac:chgData name="christophe CHUECOS-FONT" userId="7e57acaa-4bc6-4644-8edc-0ecdded28594" providerId="ADAL" clId="{95D2721A-88F0-4B82-A753-716B18641ECD}" dt="2021-05-05T09:42:50.445" v="2641"/>
          <ac:spMkLst>
            <pc:docMk/>
            <pc:sldMk cId="210085831" sldId="1002"/>
            <ac:spMk id="3" creationId="{408EAE6A-7A27-49DE-A873-1C7DD697D079}"/>
          </ac:spMkLst>
        </pc:spChg>
        <pc:graphicFrameChg chg="add mod modGraphic">
          <ac:chgData name="christophe CHUECOS-FONT" userId="7e57acaa-4bc6-4644-8edc-0ecdded28594" providerId="ADAL" clId="{95D2721A-88F0-4B82-A753-716B18641ECD}" dt="2021-05-05T09:56:59.714" v="2703" actId="20577"/>
          <ac:graphicFrameMkLst>
            <pc:docMk/>
            <pc:sldMk cId="210085831" sldId="1002"/>
            <ac:graphicFrameMk id="4" creationId="{FE0A8D4D-A24E-428C-98E4-2B0D896B1828}"/>
          </ac:graphicFrameMkLst>
        </pc:graphicFrameChg>
      </pc:sldChg>
      <pc:sldChg chg="addSp delSp modSp new mod">
        <pc:chgData name="christophe CHUECOS-FONT" userId="7e57acaa-4bc6-4644-8edc-0ecdded28594" providerId="ADAL" clId="{95D2721A-88F0-4B82-A753-716B18641ECD}" dt="2021-05-05T10:17:03.208" v="2960" actId="6549"/>
        <pc:sldMkLst>
          <pc:docMk/>
          <pc:sldMk cId="2258640481" sldId="1003"/>
        </pc:sldMkLst>
        <pc:spChg chg="mod">
          <ac:chgData name="christophe CHUECOS-FONT" userId="7e57acaa-4bc6-4644-8edc-0ecdded28594" providerId="ADAL" clId="{95D2721A-88F0-4B82-A753-716B18641ECD}" dt="2021-05-05T10:02:55.235" v="2729" actId="20577"/>
          <ac:spMkLst>
            <pc:docMk/>
            <pc:sldMk cId="2258640481" sldId="1003"/>
            <ac:spMk id="2" creationId="{46DD129C-520E-4D80-9817-C2C73246DB06}"/>
          </ac:spMkLst>
        </pc:spChg>
        <pc:spChg chg="del">
          <ac:chgData name="christophe CHUECOS-FONT" userId="7e57acaa-4bc6-4644-8edc-0ecdded28594" providerId="ADAL" clId="{95D2721A-88F0-4B82-A753-716B18641ECD}" dt="2021-05-05T10:15:39.514" v="2883"/>
          <ac:spMkLst>
            <pc:docMk/>
            <pc:sldMk cId="2258640481" sldId="1003"/>
            <ac:spMk id="3" creationId="{887F8431-3360-4504-ABFC-B466AC161F5A}"/>
          </ac:spMkLst>
        </pc:spChg>
        <pc:graphicFrameChg chg="add mod modGraphic">
          <ac:chgData name="christophe CHUECOS-FONT" userId="7e57acaa-4bc6-4644-8edc-0ecdded28594" providerId="ADAL" clId="{95D2721A-88F0-4B82-A753-716B18641ECD}" dt="2021-05-05T10:17:03.208" v="2960" actId="6549"/>
          <ac:graphicFrameMkLst>
            <pc:docMk/>
            <pc:sldMk cId="2258640481" sldId="1003"/>
            <ac:graphicFrameMk id="4" creationId="{0AD42957-EF6B-45BE-8B7D-257913155D1A}"/>
          </ac:graphicFrameMkLst>
        </pc:graphicFrameChg>
      </pc:sldChg>
      <pc:sldChg chg="addSp delSp modSp new mod">
        <pc:chgData name="christophe CHUECOS-FONT" userId="7e57acaa-4bc6-4644-8edc-0ecdded28594" providerId="ADAL" clId="{95D2721A-88F0-4B82-A753-716B18641ECD}" dt="2021-05-05T10:19:43.975" v="3054" actId="20577"/>
        <pc:sldMkLst>
          <pc:docMk/>
          <pc:sldMk cId="2499502966" sldId="1004"/>
        </pc:sldMkLst>
        <pc:spChg chg="mod">
          <ac:chgData name="christophe CHUECOS-FONT" userId="7e57acaa-4bc6-4644-8edc-0ecdded28594" providerId="ADAL" clId="{95D2721A-88F0-4B82-A753-716B18641ECD}" dt="2021-05-05T10:04:03.315" v="2738" actId="20577"/>
          <ac:spMkLst>
            <pc:docMk/>
            <pc:sldMk cId="2499502966" sldId="1004"/>
            <ac:spMk id="2" creationId="{6028A6D4-BD26-44D1-9343-5DD586C7A343}"/>
          </ac:spMkLst>
        </pc:spChg>
        <pc:spChg chg="del mod">
          <ac:chgData name="christophe CHUECOS-FONT" userId="7e57acaa-4bc6-4644-8edc-0ecdded28594" providerId="ADAL" clId="{95D2721A-88F0-4B82-A753-716B18641ECD}" dt="2021-05-05T10:17:09.992" v="2961"/>
          <ac:spMkLst>
            <pc:docMk/>
            <pc:sldMk cId="2499502966" sldId="1004"/>
            <ac:spMk id="3" creationId="{1907D997-7670-46B4-A923-912EABFD05A0}"/>
          </ac:spMkLst>
        </pc:spChg>
        <pc:graphicFrameChg chg="add mod modGraphic">
          <ac:chgData name="christophe CHUECOS-FONT" userId="7e57acaa-4bc6-4644-8edc-0ecdded28594" providerId="ADAL" clId="{95D2721A-88F0-4B82-A753-716B18641ECD}" dt="2021-05-05T10:19:43.975" v="3054" actId="20577"/>
          <ac:graphicFrameMkLst>
            <pc:docMk/>
            <pc:sldMk cId="2499502966" sldId="1004"/>
            <ac:graphicFrameMk id="4" creationId="{147FEDBF-CF42-4B53-A214-5BD9EFC35EA7}"/>
          </ac:graphicFrameMkLst>
        </pc:graphicFrameChg>
      </pc:sldChg>
      <pc:sldChg chg="addSp delSp modSp new mod ord">
        <pc:chgData name="christophe CHUECOS-FONT" userId="7e57acaa-4bc6-4644-8edc-0ecdded28594" providerId="ADAL" clId="{95D2721A-88F0-4B82-A753-716B18641ECD}" dt="2021-05-05T10:21:42.054" v="3124" actId="121"/>
        <pc:sldMkLst>
          <pc:docMk/>
          <pc:sldMk cId="2415985183" sldId="1005"/>
        </pc:sldMkLst>
        <pc:spChg chg="mod">
          <ac:chgData name="christophe CHUECOS-FONT" userId="7e57acaa-4bc6-4644-8edc-0ecdded28594" providerId="ADAL" clId="{95D2721A-88F0-4B82-A753-716B18641ECD}" dt="2021-05-05T10:04:29.741" v="2753" actId="20577"/>
          <ac:spMkLst>
            <pc:docMk/>
            <pc:sldMk cId="2415985183" sldId="1005"/>
            <ac:spMk id="2" creationId="{247EAD18-F44F-48E8-8187-829C276FE24D}"/>
          </ac:spMkLst>
        </pc:spChg>
        <pc:spChg chg="del">
          <ac:chgData name="christophe CHUECOS-FONT" userId="7e57acaa-4bc6-4644-8edc-0ecdded28594" providerId="ADAL" clId="{95D2721A-88F0-4B82-A753-716B18641ECD}" dt="2021-05-05T10:19:56.745" v="3055"/>
          <ac:spMkLst>
            <pc:docMk/>
            <pc:sldMk cId="2415985183" sldId="1005"/>
            <ac:spMk id="3" creationId="{5B1E0CB9-E3E1-46F6-ADFF-A5C5DD04DE9F}"/>
          </ac:spMkLst>
        </pc:spChg>
        <pc:graphicFrameChg chg="add mod modGraphic">
          <ac:chgData name="christophe CHUECOS-FONT" userId="7e57acaa-4bc6-4644-8edc-0ecdded28594" providerId="ADAL" clId="{95D2721A-88F0-4B82-A753-716B18641ECD}" dt="2021-05-05T10:21:42.054" v="3124" actId="121"/>
          <ac:graphicFrameMkLst>
            <pc:docMk/>
            <pc:sldMk cId="2415985183" sldId="1005"/>
            <ac:graphicFrameMk id="4" creationId="{91B4EAA4-534B-4331-B495-9B0B5BF5D388}"/>
          </ac:graphicFrameMkLst>
        </pc:graphicFrameChg>
      </pc:sldChg>
      <pc:sldChg chg="addSp delSp modSp new mod ord">
        <pc:chgData name="christophe CHUECOS-FONT" userId="7e57acaa-4bc6-4644-8edc-0ecdded28594" providerId="ADAL" clId="{95D2721A-88F0-4B82-A753-716B18641ECD}" dt="2021-05-05T10:26:08.352" v="3308" actId="120"/>
        <pc:sldMkLst>
          <pc:docMk/>
          <pc:sldMk cId="353743837" sldId="1006"/>
        </pc:sldMkLst>
        <pc:spChg chg="mod">
          <ac:chgData name="christophe CHUECOS-FONT" userId="7e57acaa-4bc6-4644-8edc-0ecdded28594" providerId="ADAL" clId="{95D2721A-88F0-4B82-A753-716B18641ECD}" dt="2021-05-05T10:05:12.450" v="2761" actId="27636"/>
          <ac:spMkLst>
            <pc:docMk/>
            <pc:sldMk cId="353743837" sldId="1006"/>
            <ac:spMk id="2" creationId="{3B78E159-6B7D-40EB-B5D9-2FBACF17F3CF}"/>
          </ac:spMkLst>
        </pc:spChg>
        <pc:spChg chg="del">
          <ac:chgData name="christophe CHUECOS-FONT" userId="7e57acaa-4bc6-4644-8edc-0ecdded28594" providerId="ADAL" clId="{95D2721A-88F0-4B82-A753-716B18641ECD}" dt="2021-05-05T10:24:20.728" v="3257"/>
          <ac:spMkLst>
            <pc:docMk/>
            <pc:sldMk cId="353743837" sldId="1006"/>
            <ac:spMk id="3" creationId="{CD6A157B-9913-4ADD-A725-4C50EE51F97C}"/>
          </ac:spMkLst>
        </pc:spChg>
        <pc:graphicFrameChg chg="add mod modGraphic">
          <ac:chgData name="christophe CHUECOS-FONT" userId="7e57acaa-4bc6-4644-8edc-0ecdded28594" providerId="ADAL" clId="{95D2721A-88F0-4B82-A753-716B18641ECD}" dt="2021-05-05T10:26:08.352" v="3308" actId="120"/>
          <ac:graphicFrameMkLst>
            <pc:docMk/>
            <pc:sldMk cId="353743837" sldId="1006"/>
            <ac:graphicFrameMk id="4" creationId="{420ACE9B-A0F9-40B1-8E33-43495A6460E4}"/>
          </ac:graphicFrameMkLst>
        </pc:graphicFrameChg>
      </pc:sldChg>
      <pc:sldChg chg="addSp delSp modSp new mod">
        <pc:chgData name="christophe CHUECOS-FONT" userId="7e57acaa-4bc6-4644-8edc-0ecdded28594" providerId="ADAL" clId="{95D2721A-88F0-4B82-A753-716B18641ECD}" dt="2021-05-05T10:28:09.223" v="3404" actId="121"/>
        <pc:sldMkLst>
          <pc:docMk/>
          <pc:sldMk cId="556515186" sldId="1007"/>
        </pc:sldMkLst>
        <pc:spChg chg="mod">
          <ac:chgData name="christophe CHUECOS-FONT" userId="7e57acaa-4bc6-4644-8edc-0ecdded28594" providerId="ADAL" clId="{95D2721A-88F0-4B82-A753-716B18641ECD}" dt="2021-05-05T10:05:27.850" v="2764" actId="27636"/>
          <ac:spMkLst>
            <pc:docMk/>
            <pc:sldMk cId="556515186" sldId="1007"/>
            <ac:spMk id="2" creationId="{9502F171-14C9-4571-ABAE-7CE4ACEEDE81}"/>
          </ac:spMkLst>
        </pc:spChg>
        <pc:spChg chg="del">
          <ac:chgData name="christophe CHUECOS-FONT" userId="7e57acaa-4bc6-4644-8edc-0ecdded28594" providerId="ADAL" clId="{95D2721A-88F0-4B82-A753-716B18641ECD}" dt="2021-05-05T10:26:20.267" v="3309"/>
          <ac:spMkLst>
            <pc:docMk/>
            <pc:sldMk cId="556515186" sldId="1007"/>
            <ac:spMk id="3" creationId="{2525A504-099B-4413-BE2B-CA94359AE1D6}"/>
          </ac:spMkLst>
        </pc:spChg>
        <pc:graphicFrameChg chg="add mod modGraphic">
          <ac:chgData name="christophe CHUECOS-FONT" userId="7e57acaa-4bc6-4644-8edc-0ecdded28594" providerId="ADAL" clId="{95D2721A-88F0-4B82-A753-716B18641ECD}" dt="2021-05-05T10:28:09.223" v="3404" actId="121"/>
          <ac:graphicFrameMkLst>
            <pc:docMk/>
            <pc:sldMk cId="556515186" sldId="1007"/>
            <ac:graphicFrameMk id="4" creationId="{6BF7EF15-4172-40A5-B246-E59ED569F044}"/>
          </ac:graphicFrameMkLst>
        </pc:graphicFrameChg>
      </pc:sldChg>
      <pc:sldChg chg="addSp delSp modSp new mod">
        <pc:chgData name="christophe CHUECOS-FONT" userId="7e57acaa-4bc6-4644-8edc-0ecdded28594" providerId="ADAL" clId="{95D2721A-88F0-4B82-A753-716B18641ECD}" dt="2021-05-05T11:55:23.194" v="3849" actId="14734"/>
        <pc:sldMkLst>
          <pc:docMk/>
          <pc:sldMk cId="2972481761" sldId="1008"/>
        </pc:sldMkLst>
        <pc:spChg chg="mod">
          <ac:chgData name="christophe CHUECOS-FONT" userId="7e57acaa-4bc6-4644-8edc-0ecdded28594" providerId="ADAL" clId="{95D2721A-88F0-4B82-A753-716B18641ECD}" dt="2021-05-05T11:47:08.380" v="3564" actId="14100"/>
          <ac:spMkLst>
            <pc:docMk/>
            <pc:sldMk cId="2972481761" sldId="1008"/>
            <ac:spMk id="2" creationId="{62928D7C-34E9-4368-92D1-8DDB218C264C}"/>
          </ac:spMkLst>
        </pc:spChg>
        <pc:spChg chg="del">
          <ac:chgData name="christophe CHUECOS-FONT" userId="7e57acaa-4bc6-4644-8edc-0ecdded28594" providerId="ADAL" clId="{95D2721A-88F0-4B82-A753-716B18641ECD}" dt="2021-05-05T10:28:26.079" v="3405"/>
          <ac:spMkLst>
            <pc:docMk/>
            <pc:sldMk cId="2972481761" sldId="1008"/>
            <ac:spMk id="3" creationId="{BB2674C9-1284-465C-AE81-8B3168453E85}"/>
          </ac:spMkLst>
        </pc:spChg>
        <pc:graphicFrameChg chg="add mod modGraphic">
          <ac:chgData name="christophe CHUECOS-FONT" userId="7e57acaa-4bc6-4644-8edc-0ecdded28594" providerId="ADAL" clId="{95D2721A-88F0-4B82-A753-716B18641ECD}" dt="2021-05-05T11:55:23.194" v="3849" actId="14734"/>
          <ac:graphicFrameMkLst>
            <pc:docMk/>
            <pc:sldMk cId="2972481761" sldId="1008"/>
            <ac:graphicFrameMk id="4" creationId="{56C08A9B-DDEC-4749-838F-C02BA659BEAC}"/>
          </ac:graphicFrameMkLst>
        </pc:graphicFrameChg>
      </pc:sldChg>
      <pc:sldChg chg="addSp delSp modSp new mod">
        <pc:chgData name="christophe CHUECOS-FONT" userId="7e57acaa-4bc6-4644-8edc-0ecdded28594" providerId="ADAL" clId="{95D2721A-88F0-4B82-A753-716B18641ECD}" dt="2021-05-05T11:55:37.671" v="3862" actId="14734"/>
        <pc:sldMkLst>
          <pc:docMk/>
          <pc:sldMk cId="76272062" sldId="1009"/>
        </pc:sldMkLst>
        <pc:spChg chg="mod">
          <ac:chgData name="christophe CHUECOS-FONT" userId="7e57acaa-4bc6-4644-8edc-0ecdded28594" providerId="ADAL" clId="{95D2721A-88F0-4B82-A753-716B18641ECD}" dt="2021-05-05T10:06:03.687" v="2770" actId="20577"/>
          <ac:spMkLst>
            <pc:docMk/>
            <pc:sldMk cId="76272062" sldId="1009"/>
            <ac:spMk id="2" creationId="{CD271407-BDBC-4DD2-8573-33D0928EF7C7}"/>
          </ac:spMkLst>
        </pc:spChg>
        <pc:spChg chg="del">
          <ac:chgData name="christophe CHUECOS-FONT" userId="7e57acaa-4bc6-4644-8edc-0ecdded28594" providerId="ADAL" clId="{95D2721A-88F0-4B82-A753-716B18641ECD}" dt="2021-05-05T11:51:01.836" v="3565"/>
          <ac:spMkLst>
            <pc:docMk/>
            <pc:sldMk cId="76272062" sldId="1009"/>
            <ac:spMk id="3" creationId="{F23CC597-13DE-4794-868D-39447B0774DC}"/>
          </ac:spMkLst>
        </pc:spChg>
        <pc:graphicFrameChg chg="add mod modGraphic">
          <ac:chgData name="christophe CHUECOS-FONT" userId="7e57acaa-4bc6-4644-8edc-0ecdded28594" providerId="ADAL" clId="{95D2721A-88F0-4B82-A753-716B18641ECD}" dt="2021-05-05T11:55:37.671" v="3862" actId="14734"/>
          <ac:graphicFrameMkLst>
            <pc:docMk/>
            <pc:sldMk cId="76272062" sldId="1009"/>
            <ac:graphicFrameMk id="4" creationId="{070E4A46-9748-4B11-B8C4-A88DF2A1A854}"/>
          </ac:graphicFrameMkLst>
        </pc:graphicFrameChg>
      </pc:sldChg>
      <pc:sldChg chg="addSp delSp modSp new mod">
        <pc:chgData name="christophe CHUECOS-FONT" userId="7e57acaa-4bc6-4644-8edc-0ecdded28594" providerId="ADAL" clId="{95D2721A-88F0-4B82-A753-716B18641ECD}" dt="2021-05-05T11:55:01.017" v="3842" actId="6549"/>
        <pc:sldMkLst>
          <pc:docMk/>
          <pc:sldMk cId="840160852" sldId="1010"/>
        </pc:sldMkLst>
        <pc:spChg chg="mod">
          <ac:chgData name="christophe CHUECOS-FONT" userId="7e57acaa-4bc6-4644-8edc-0ecdded28594" providerId="ADAL" clId="{95D2721A-88F0-4B82-A753-716B18641ECD}" dt="2021-05-05T10:07:26.077" v="2775" actId="255"/>
          <ac:spMkLst>
            <pc:docMk/>
            <pc:sldMk cId="840160852" sldId="1010"/>
            <ac:spMk id="2" creationId="{D82F132E-7911-4B73-9A30-ED1FC898ED90}"/>
          </ac:spMkLst>
        </pc:spChg>
        <pc:spChg chg="del">
          <ac:chgData name="christophe CHUECOS-FONT" userId="7e57acaa-4bc6-4644-8edc-0ecdded28594" providerId="ADAL" clId="{95D2721A-88F0-4B82-A753-716B18641ECD}" dt="2021-05-05T11:53:09.423" v="3691"/>
          <ac:spMkLst>
            <pc:docMk/>
            <pc:sldMk cId="840160852" sldId="1010"/>
            <ac:spMk id="3" creationId="{3D28CFFB-3747-4EE1-8B90-2B29D70B9236}"/>
          </ac:spMkLst>
        </pc:spChg>
        <pc:graphicFrameChg chg="add mod modGraphic">
          <ac:chgData name="christophe CHUECOS-FONT" userId="7e57acaa-4bc6-4644-8edc-0ecdded28594" providerId="ADAL" clId="{95D2721A-88F0-4B82-A753-716B18641ECD}" dt="2021-05-05T11:55:01.017" v="3842" actId="6549"/>
          <ac:graphicFrameMkLst>
            <pc:docMk/>
            <pc:sldMk cId="840160852" sldId="1010"/>
            <ac:graphicFrameMk id="4" creationId="{4BB7188F-5AB5-4D74-A0B9-1DDEA10A16DE}"/>
          </ac:graphicFrameMkLst>
        </pc:graphicFrameChg>
      </pc:sldChg>
      <pc:sldChg chg="modSp new mod">
        <pc:chgData name="christophe CHUECOS-FONT" userId="7e57acaa-4bc6-4644-8edc-0ecdded28594" providerId="ADAL" clId="{95D2721A-88F0-4B82-A753-716B18641ECD}" dt="2021-05-05T12:10:33.400" v="5057" actId="13926"/>
        <pc:sldMkLst>
          <pc:docMk/>
          <pc:sldMk cId="418576789" sldId="1011"/>
        </pc:sldMkLst>
        <pc:spChg chg="mod">
          <ac:chgData name="christophe CHUECOS-FONT" userId="7e57acaa-4bc6-4644-8edc-0ecdded28594" providerId="ADAL" clId="{95D2721A-88F0-4B82-A753-716B18641ECD}" dt="2021-05-05T12:04:45.415" v="4713" actId="6549"/>
          <ac:spMkLst>
            <pc:docMk/>
            <pc:sldMk cId="418576789" sldId="1011"/>
            <ac:spMk id="2" creationId="{109E214E-BC29-4441-B08B-419293F0EBCD}"/>
          </ac:spMkLst>
        </pc:spChg>
        <pc:spChg chg="mod">
          <ac:chgData name="christophe CHUECOS-FONT" userId="7e57acaa-4bc6-4644-8edc-0ecdded28594" providerId="ADAL" clId="{95D2721A-88F0-4B82-A753-716B18641ECD}" dt="2021-05-05T12:10:33.400" v="5057" actId="13926"/>
          <ac:spMkLst>
            <pc:docMk/>
            <pc:sldMk cId="418576789" sldId="1011"/>
            <ac:spMk id="3" creationId="{81F895DD-2F4A-4FF8-8716-420024C30B63}"/>
          </ac:spMkLst>
        </pc:spChg>
      </pc:sldChg>
      <pc:sldChg chg="addSp delSp modSp new mod">
        <pc:chgData name="christophe CHUECOS-FONT" userId="7e57acaa-4bc6-4644-8edc-0ecdded28594" providerId="ADAL" clId="{95D2721A-88F0-4B82-A753-716B18641ECD}" dt="2021-05-05T12:12:09.225" v="5081" actId="20577"/>
        <pc:sldMkLst>
          <pc:docMk/>
          <pc:sldMk cId="547478127" sldId="1012"/>
        </pc:sldMkLst>
        <pc:spChg chg="del">
          <ac:chgData name="christophe CHUECOS-FONT" userId="7e57acaa-4bc6-4644-8edc-0ecdded28594" providerId="ADAL" clId="{95D2721A-88F0-4B82-A753-716B18641ECD}" dt="2021-05-05T12:05:21.966" v="4733" actId="21"/>
          <ac:spMkLst>
            <pc:docMk/>
            <pc:sldMk cId="547478127" sldId="1012"/>
            <ac:spMk id="2" creationId="{33E76F39-FDF5-47B2-AC44-DA3C424FD99F}"/>
          </ac:spMkLst>
        </pc:spChg>
        <pc:spChg chg="del">
          <ac:chgData name="christophe CHUECOS-FONT" userId="7e57acaa-4bc6-4644-8edc-0ecdded28594" providerId="ADAL" clId="{95D2721A-88F0-4B82-A753-716B18641ECD}" dt="2021-05-05T12:02:05.845" v="4459"/>
          <ac:spMkLst>
            <pc:docMk/>
            <pc:sldMk cId="547478127" sldId="1012"/>
            <ac:spMk id="3" creationId="{8EA0E051-25CC-4B84-AF7C-E01BAD500558}"/>
          </ac:spMkLst>
        </pc:spChg>
        <pc:spChg chg="add mod">
          <ac:chgData name="christophe CHUECOS-FONT" userId="7e57acaa-4bc6-4644-8edc-0ecdded28594" providerId="ADAL" clId="{95D2721A-88F0-4B82-A753-716B18641ECD}" dt="2021-05-05T12:10:16.369" v="5052" actId="20577"/>
          <ac:spMkLst>
            <pc:docMk/>
            <pc:sldMk cId="547478127" sldId="1012"/>
            <ac:spMk id="7" creationId="{DC8AC3C5-ED6C-4640-A9FA-F2B2665F23CF}"/>
          </ac:spMkLst>
        </pc:spChg>
        <pc:graphicFrameChg chg="add mod modGraphic">
          <ac:chgData name="christophe CHUECOS-FONT" userId="7e57acaa-4bc6-4644-8edc-0ecdded28594" providerId="ADAL" clId="{95D2721A-88F0-4B82-A753-716B18641ECD}" dt="2021-05-05T12:11:57.576" v="5075" actId="255"/>
          <ac:graphicFrameMkLst>
            <pc:docMk/>
            <pc:sldMk cId="547478127" sldId="1012"/>
            <ac:graphicFrameMk id="4" creationId="{879E7F02-36FB-4883-8C6B-8551ACAAC369}"/>
          </ac:graphicFrameMkLst>
        </pc:graphicFrameChg>
        <pc:graphicFrameChg chg="add mod modGraphic">
          <ac:chgData name="christophe CHUECOS-FONT" userId="7e57acaa-4bc6-4644-8edc-0ecdded28594" providerId="ADAL" clId="{95D2721A-88F0-4B82-A753-716B18641ECD}" dt="2021-05-05T12:12:04.882" v="5076" actId="255"/>
          <ac:graphicFrameMkLst>
            <pc:docMk/>
            <pc:sldMk cId="547478127" sldId="1012"/>
            <ac:graphicFrameMk id="5" creationId="{F9752BE0-DD86-4645-AB1B-0585E3F3ECD3}"/>
          </ac:graphicFrameMkLst>
        </pc:graphicFrameChg>
        <pc:graphicFrameChg chg="add mod modGraphic">
          <ac:chgData name="christophe CHUECOS-FONT" userId="7e57acaa-4bc6-4644-8edc-0ecdded28594" providerId="ADAL" clId="{95D2721A-88F0-4B82-A753-716B18641ECD}" dt="2021-05-05T12:12:09.225" v="5081" actId="20577"/>
          <ac:graphicFrameMkLst>
            <pc:docMk/>
            <pc:sldMk cId="547478127" sldId="1012"/>
            <ac:graphicFrameMk id="6" creationId="{B7D6896C-45D9-41AC-BEF6-6515A45077D5}"/>
          </ac:graphicFrameMkLst>
        </pc:graphicFrameChg>
      </pc:sldChg>
      <pc:sldMasterChg chg="del delSldLayout">
        <pc:chgData name="christophe CHUECOS-FONT" userId="7e57acaa-4bc6-4644-8edc-0ecdded28594" providerId="ADAL" clId="{95D2721A-88F0-4B82-A753-716B18641ECD}" dt="2021-05-05T06:32:07.860" v="34" actId="47"/>
        <pc:sldMasterMkLst>
          <pc:docMk/>
          <pc:sldMasterMk cId="4116786278" sldId="2147483684"/>
        </pc:sldMasterMkLst>
        <pc:sldLayoutChg chg="del">
          <pc:chgData name="christophe CHUECOS-FONT" userId="7e57acaa-4bc6-4644-8edc-0ecdded28594" providerId="ADAL" clId="{95D2721A-88F0-4B82-A753-716B18641ECD}" dt="2021-05-05T06:32:07.860" v="34" actId="47"/>
          <pc:sldLayoutMkLst>
            <pc:docMk/>
            <pc:sldMasterMk cId="4116786278" sldId="2147483684"/>
            <pc:sldLayoutMk cId="2950414355" sldId="2147483685"/>
          </pc:sldLayoutMkLst>
        </pc:sldLayoutChg>
        <pc:sldLayoutChg chg="del">
          <pc:chgData name="christophe CHUECOS-FONT" userId="7e57acaa-4bc6-4644-8edc-0ecdded28594" providerId="ADAL" clId="{95D2721A-88F0-4B82-A753-716B18641ECD}" dt="2021-05-05T06:32:07.860" v="34" actId="47"/>
          <pc:sldLayoutMkLst>
            <pc:docMk/>
            <pc:sldMasterMk cId="4116786278" sldId="2147483684"/>
            <pc:sldLayoutMk cId="3631656758" sldId="2147483686"/>
          </pc:sldLayoutMkLst>
        </pc:sldLayoutChg>
        <pc:sldLayoutChg chg="del">
          <pc:chgData name="christophe CHUECOS-FONT" userId="7e57acaa-4bc6-4644-8edc-0ecdded28594" providerId="ADAL" clId="{95D2721A-88F0-4B82-A753-716B18641ECD}" dt="2021-05-05T06:32:07.860" v="34" actId="47"/>
          <pc:sldLayoutMkLst>
            <pc:docMk/>
            <pc:sldMasterMk cId="4116786278" sldId="2147483684"/>
            <pc:sldLayoutMk cId="4115706303" sldId="2147483687"/>
          </pc:sldLayoutMkLst>
        </pc:sldLayoutChg>
        <pc:sldLayoutChg chg="del">
          <pc:chgData name="christophe CHUECOS-FONT" userId="7e57acaa-4bc6-4644-8edc-0ecdded28594" providerId="ADAL" clId="{95D2721A-88F0-4B82-A753-716B18641ECD}" dt="2021-05-05T06:32:07.860" v="34" actId="47"/>
          <pc:sldLayoutMkLst>
            <pc:docMk/>
            <pc:sldMasterMk cId="4116786278" sldId="2147483684"/>
            <pc:sldLayoutMk cId="1432603825" sldId="2147483688"/>
          </pc:sldLayoutMkLst>
        </pc:sldLayoutChg>
        <pc:sldLayoutChg chg="del">
          <pc:chgData name="christophe CHUECOS-FONT" userId="7e57acaa-4bc6-4644-8edc-0ecdded28594" providerId="ADAL" clId="{95D2721A-88F0-4B82-A753-716B18641ECD}" dt="2021-05-05T06:32:07.860" v="34" actId="47"/>
          <pc:sldLayoutMkLst>
            <pc:docMk/>
            <pc:sldMasterMk cId="4116786278" sldId="2147483684"/>
            <pc:sldLayoutMk cId="3020011778" sldId="2147483689"/>
          </pc:sldLayoutMkLst>
        </pc:sldLayoutChg>
        <pc:sldLayoutChg chg="del">
          <pc:chgData name="christophe CHUECOS-FONT" userId="7e57acaa-4bc6-4644-8edc-0ecdded28594" providerId="ADAL" clId="{95D2721A-88F0-4B82-A753-716B18641ECD}" dt="2021-05-05T06:32:07.860" v="34" actId="47"/>
          <pc:sldLayoutMkLst>
            <pc:docMk/>
            <pc:sldMasterMk cId="4116786278" sldId="2147483684"/>
            <pc:sldLayoutMk cId="1002063902" sldId="2147483690"/>
          </pc:sldLayoutMkLst>
        </pc:sldLayoutChg>
        <pc:sldLayoutChg chg="del">
          <pc:chgData name="christophe CHUECOS-FONT" userId="7e57acaa-4bc6-4644-8edc-0ecdded28594" providerId="ADAL" clId="{95D2721A-88F0-4B82-A753-716B18641ECD}" dt="2021-05-05T06:32:07.860" v="34" actId="47"/>
          <pc:sldLayoutMkLst>
            <pc:docMk/>
            <pc:sldMasterMk cId="4116786278" sldId="2147483684"/>
            <pc:sldLayoutMk cId="2520840968" sldId="2147483691"/>
          </pc:sldLayoutMkLst>
        </pc:sldLayoutChg>
        <pc:sldLayoutChg chg="del">
          <pc:chgData name="christophe CHUECOS-FONT" userId="7e57acaa-4bc6-4644-8edc-0ecdded28594" providerId="ADAL" clId="{95D2721A-88F0-4B82-A753-716B18641ECD}" dt="2021-05-05T06:32:07.860" v="34" actId="47"/>
          <pc:sldLayoutMkLst>
            <pc:docMk/>
            <pc:sldMasterMk cId="4116786278" sldId="2147483684"/>
            <pc:sldLayoutMk cId="1280291780" sldId="2147483692"/>
          </pc:sldLayoutMkLst>
        </pc:sldLayoutChg>
        <pc:sldLayoutChg chg="del">
          <pc:chgData name="christophe CHUECOS-FONT" userId="7e57acaa-4bc6-4644-8edc-0ecdded28594" providerId="ADAL" clId="{95D2721A-88F0-4B82-A753-716B18641ECD}" dt="2021-05-05T06:32:07.860" v="34" actId="47"/>
          <pc:sldLayoutMkLst>
            <pc:docMk/>
            <pc:sldMasterMk cId="4116786278" sldId="2147483684"/>
            <pc:sldLayoutMk cId="2136540331" sldId="2147483693"/>
          </pc:sldLayoutMkLst>
        </pc:sldLayoutChg>
        <pc:sldLayoutChg chg="del">
          <pc:chgData name="christophe CHUECOS-FONT" userId="7e57acaa-4bc6-4644-8edc-0ecdded28594" providerId="ADAL" clId="{95D2721A-88F0-4B82-A753-716B18641ECD}" dt="2021-05-05T06:32:07.860" v="34" actId="47"/>
          <pc:sldLayoutMkLst>
            <pc:docMk/>
            <pc:sldMasterMk cId="4116786278" sldId="2147483684"/>
            <pc:sldLayoutMk cId="2553796454" sldId="2147483694"/>
          </pc:sldLayoutMkLst>
        </pc:sldLayoutChg>
        <pc:sldLayoutChg chg="del">
          <pc:chgData name="christophe CHUECOS-FONT" userId="7e57acaa-4bc6-4644-8edc-0ecdded28594" providerId="ADAL" clId="{95D2721A-88F0-4B82-A753-716B18641ECD}" dt="2021-05-05T06:32:07.860" v="34" actId="47"/>
          <pc:sldLayoutMkLst>
            <pc:docMk/>
            <pc:sldMasterMk cId="4116786278" sldId="2147483684"/>
            <pc:sldLayoutMk cId="273670053" sldId="2147483695"/>
          </pc:sldLayoutMkLst>
        </pc:sldLayoutChg>
      </pc:sldMasterChg>
    </pc:docChg>
  </pc:docChgLst>
  <pc:docChgLst>
    <pc:chgData name="christophe CHUECOS-FONT" userId="7e57acaa-4bc6-4644-8edc-0ecdded28594" providerId="ADAL" clId="{69632830-5E2C-4AAB-BE3F-9B87E87CD568}"/>
    <pc:docChg chg="undo custSel addSld delSld modSld sldOrd">
      <pc:chgData name="christophe CHUECOS-FONT" userId="7e57acaa-4bc6-4644-8edc-0ecdded28594" providerId="ADAL" clId="{69632830-5E2C-4AAB-BE3F-9B87E87CD568}" dt="2021-04-30T15:39:59.029" v="440" actId="20577"/>
      <pc:docMkLst>
        <pc:docMk/>
      </pc:docMkLst>
      <pc:sldChg chg="modSp mod">
        <pc:chgData name="christophe CHUECOS-FONT" userId="7e57acaa-4bc6-4644-8edc-0ecdded28594" providerId="ADAL" clId="{69632830-5E2C-4AAB-BE3F-9B87E87CD568}" dt="2021-04-29T22:20:50.683" v="4" actId="20577"/>
        <pc:sldMkLst>
          <pc:docMk/>
          <pc:sldMk cId="3848639155" sldId="256"/>
        </pc:sldMkLst>
        <pc:spChg chg="mod">
          <ac:chgData name="christophe CHUECOS-FONT" userId="7e57acaa-4bc6-4644-8edc-0ecdded28594" providerId="ADAL" clId="{69632830-5E2C-4AAB-BE3F-9B87E87CD568}" dt="2021-04-29T22:20:50.683" v="4" actId="20577"/>
          <ac:spMkLst>
            <pc:docMk/>
            <pc:sldMk cId="3848639155" sldId="256"/>
            <ac:spMk id="3" creationId="{21349F9F-31B4-41DC-B4DB-C097467B5266}"/>
          </ac:spMkLst>
        </pc:spChg>
      </pc:sldChg>
      <pc:sldChg chg="modSp mod">
        <pc:chgData name="christophe CHUECOS-FONT" userId="7e57acaa-4bc6-4644-8edc-0ecdded28594" providerId="ADAL" clId="{69632830-5E2C-4AAB-BE3F-9B87E87CD568}" dt="2021-04-29T22:21:40.868" v="12" actId="20577"/>
        <pc:sldMkLst>
          <pc:docMk/>
          <pc:sldMk cId="251691404" sldId="276"/>
        </pc:sldMkLst>
        <pc:graphicFrameChg chg="modGraphic">
          <ac:chgData name="christophe CHUECOS-FONT" userId="7e57acaa-4bc6-4644-8edc-0ecdded28594" providerId="ADAL" clId="{69632830-5E2C-4AAB-BE3F-9B87E87CD568}" dt="2021-04-29T22:21:40.868" v="12" actId="20577"/>
          <ac:graphicFrameMkLst>
            <pc:docMk/>
            <pc:sldMk cId="251691404" sldId="276"/>
            <ac:graphicFrameMk id="3" creationId="{90A39BD7-E179-4570-8079-E6A295B49267}"/>
          </ac:graphicFrameMkLst>
        </pc:graphicFrameChg>
      </pc:sldChg>
      <pc:sldChg chg="del">
        <pc:chgData name="christophe CHUECOS-FONT" userId="7e57acaa-4bc6-4644-8edc-0ecdded28594" providerId="ADAL" clId="{69632830-5E2C-4AAB-BE3F-9B87E87CD568}" dt="2021-04-29T22:23:41.002" v="42" actId="47"/>
        <pc:sldMkLst>
          <pc:docMk/>
          <pc:sldMk cId="199886149" sldId="751"/>
        </pc:sldMkLst>
      </pc:sldChg>
      <pc:sldChg chg="add ord">
        <pc:chgData name="christophe CHUECOS-FONT" userId="7e57acaa-4bc6-4644-8edc-0ecdded28594" providerId="ADAL" clId="{69632830-5E2C-4AAB-BE3F-9B87E87CD568}" dt="2021-04-29T22:23:04.707" v="27"/>
        <pc:sldMkLst>
          <pc:docMk/>
          <pc:sldMk cId="2127276154" sldId="762"/>
        </pc:sldMkLst>
      </pc:sldChg>
      <pc:sldChg chg="add ord">
        <pc:chgData name="christophe CHUECOS-FONT" userId="7e57acaa-4bc6-4644-8edc-0ecdded28594" providerId="ADAL" clId="{69632830-5E2C-4AAB-BE3F-9B87E87CD568}" dt="2021-04-29T22:26:10.800" v="106"/>
        <pc:sldMkLst>
          <pc:docMk/>
          <pc:sldMk cId="2787990808" sldId="765"/>
        </pc:sldMkLst>
      </pc:sldChg>
      <pc:sldChg chg="del">
        <pc:chgData name="christophe CHUECOS-FONT" userId="7e57acaa-4bc6-4644-8edc-0ecdded28594" providerId="ADAL" clId="{69632830-5E2C-4AAB-BE3F-9B87E87CD568}" dt="2021-04-29T22:27:04.474" v="109" actId="47"/>
        <pc:sldMkLst>
          <pc:docMk/>
          <pc:sldMk cId="2343994896" sldId="867"/>
        </pc:sldMkLst>
      </pc:sldChg>
      <pc:sldChg chg="del">
        <pc:chgData name="christophe CHUECOS-FONT" userId="7e57acaa-4bc6-4644-8edc-0ecdded28594" providerId="ADAL" clId="{69632830-5E2C-4AAB-BE3F-9B87E87CD568}" dt="2021-04-29T22:27:18.324" v="127" actId="47"/>
        <pc:sldMkLst>
          <pc:docMk/>
          <pc:sldMk cId="518596460" sldId="903"/>
        </pc:sldMkLst>
      </pc:sldChg>
      <pc:sldChg chg="del">
        <pc:chgData name="christophe CHUECOS-FONT" userId="7e57acaa-4bc6-4644-8edc-0ecdded28594" providerId="ADAL" clId="{69632830-5E2C-4AAB-BE3F-9B87E87CD568}" dt="2021-04-29T22:27:40.456" v="129" actId="47"/>
        <pc:sldMkLst>
          <pc:docMk/>
          <pc:sldMk cId="2856685236" sldId="904"/>
        </pc:sldMkLst>
      </pc:sldChg>
      <pc:sldChg chg="del">
        <pc:chgData name="christophe CHUECOS-FONT" userId="7e57acaa-4bc6-4644-8edc-0ecdded28594" providerId="ADAL" clId="{69632830-5E2C-4AAB-BE3F-9B87E87CD568}" dt="2021-04-29T22:27:03.043" v="108" actId="47"/>
        <pc:sldMkLst>
          <pc:docMk/>
          <pc:sldMk cId="2413877595" sldId="906"/>
        </pc:sldMkLst>
      </pc:sldChg>
      <pc:sldChg chg="modSp mod">
        <pc:chgData name="christophe CHUECOS-FONT" userId="7e57acaa-4bc6-4644-8edc-0ecdded28594" providerId="ADAL" clId="{69632830-5E2C-4AAB-BE3F-9B87E87CD568}" dt="2021-04-29T22:23:49.442" v="43" actId="20577"/>
        <pc:sldMkLst>
          <pc:docMk/>
          <pc:sldMk cId="1603699342" sldId="928"/>
        </pc:sldMkLst>
        <pc:spChg chg="mod">
          <ac:chgData name="christophe CHUECOS-FONT" userId="7e57acaa-4bc6-4644-8edc-0ecdded28594" providerId="ADAL" clId="{69632830-5E2C-4AAB-BE3F-9B87E87CD568}" dt="2021-04-29T22:23:49.442" v="43" actId="20577"/>
          <ac:spMkLst>
            <pc:docMk/>
            <pc:sldMk cId="1603699342" sldId="928"/>
            <ac:spMk id="5" creationId="{DFEA2082-E7DE-4453-8158-54F380B94285}"/>
          </ac:spMkLst>
        </pc:spChg>
      </pc:sldChg>
      <pc:sldChg chg="del">
        <pc:chgData name="christophe CHUECOS-FONT" userId="7e57acaa-4bc6-4644-8edc-0ecdded28594" providerId="ADAL" clId="{69632830-5E2C-4AAB-BE3F-9B87E87CD568}" dt="2021-04-29T22:22:10.390" v="21" actId="47"/>
        <pc:sldMkLst>
          <pc:docMk/>
          <pc:sldMk cId="838034858" sldId="929"/>
        </pc:sldMkLst>
      </pc:sldChg>
      <pc:sldChg chg="del">
        <pc:chgData name="christophe CHUECOS-FONT" userId="7e57acaa-4bc6-4644-8edc-0ecdded28594" providerId="ADAL" clId="{69632830-5E2C-4AAB-BE3F-9B87E87CD568}" dt="2021-04-29T22:22:11.011" v="22" actId="47"/>
        <pc:sldMkLst>
          <pc:docMk/>
          <pc:sldMk cId="2778287842" sldId="930"/>
        </pc:sldMkLst>
      </pc:sldChg>
      <pc:sldChg chg="del">
        <pc:chgData name="christophe CHUECOS-FONT" userId="7e57acaa-4bc6-4644-8edc-0ecdded28594" providerId="ADAL" clId="{69632830-5E2C-4AAB-BE3F-9B87E87CD568}" dt="2021-04-29T22:22:11.540" v="23" actId="47"/>
        <pc:sldMkLst>
          <pc:docMk/>
          <pc:sldMk cId="3403650375" sldId="931"/>
        </pc:sldMkLst>
      </pc:sldChg>
      <pc:sldChg chg="del">
        <pc:chgData name="christophe CHUECOS-FONT" userId="7e57acaa-4bc6-4644-8edc-0ecdded28594" providerId="ADAL" clId="{69632830-5E2C-4AAB-BE3F-9B87E87CD568}" dt="2021-04-29T22:22:13.576" v="24" actId="47"/>
        <pc:sldMkLst>
          <pc:docMk/>
          <pc:sldMk cId="908281077" sldId="932"/>
        </pc:sldMkLst>
      </pc:sldChg>
      <pc:sldChg chg="del">
        <pc:chgData name="christophe CHUECOS-FONT" userId="7e57acaa-4bc6-4644-8edc-0ecdded28594" providerId="ADAL" clId="{69632830-5E2C-4AAB-BE3F-9B87E87CD568}" dt="2021-04-29T22:27:04.923" v="110" actId="47"/>
        <pc:sldMkLst>
          <pc:docMk/>
          <pc:sldMk cId="2169269237" sldId="933"/>
        </pc:sldMkLst>
      </pc:sldChg>
      <pc:sldChg chg="del">
        <pc:chgData name="christophe CHUECOS-FONT" userId="7e57acaa-4bc6-4644-8edc-0ecdded28594" providerId="ADAL" clId="{69632830-5E2C-4AAB-BE3F-9B87E87CD568}" dt="2021-04-29T22:27:05.440" v="111" actId="47"/>
        <pc:sldMkLst>
          <pc:docMk/>
          <pc:sldMk cId="1450746386" sldId="934"/>
        </pc:sldMkLst>
      </pc:sldChg>
      <pc:sldChg chg="del">
        <pc:chgData name="christophe CHUECOS-FONT" userId="7e57acaa-4bc6-4644-8edc-0ecdded28594" providerId="ADAL" clId="{69632830-5E2C-4AAB-BE3F-9B87E87CD568}" dt="2021-04-29T22:27:05.988" v="112" actId="47"/>
        <pc:sldMkLst>
          <pc:docMk/>
          <pc:sldMk cId="2411080194" sldId="935"/>
        </pc:sldMkLst>
      </pc:sldChg>
      <pc:sldChg chg="del">
        <pc:chgData name="christophe CHUECOS-FONT" userId="7e57acaa-4bc6-4644-8edc-0ecdded28594" providerId="ADAL" clId="{69632830-5E2C-4AAB-BE3F-9B87E87CD568}" dt="2021-04-29T22:27:06.464" v="113" actId="47"/>
        <pc:sldMkLst>
          <pc:docMk/>
          <pc:sldMk cId="1723624915" sldId="936"/>
        </pc:sldMkLst>
      </pc:sldChg>
      <pc:sldChg chg="del">
        <pc:chgData name="christophe CHUECOS-FONT" userId="7e57acaa-4bc6-4644-8edc-0ecdded28594" providerId="ADAL" clId="{69632830-5E2C-4AAB-BE3F-9B87E87CD568}" dt="2021-04-29T22:27:06.995" v="114" actId="47"/>
        <pc:sldMkLst>
          <pc:docMk/>
          <pc:sldMk cId="1052992918" sldId="937"/>
        </pc:sldMkLst>
      </pc:sldChg>
      <pc:sldChg chg="del">
        <pc:chgData name="christophe CHUECOS-FONT" userId="7e57acaa-4bc6-4644-8edc-0ecdded28594" providerId="ADAL" clId="{69632830-5E2C-4AAB-BE3F-9B87E87CD568}" dt="2021-04-29T22:27:07.659" v="115" actId="47"/>
        <pc:sldMkLst>
          <pc:docMk/>
          <pc:sldMk cId="705635903" sldId="938"/>
        </pc:sldMkLst>
      </pc:sldChg>
      <pc:sldChg chg="del">
        <pc:chgData name="christophe CHUECOS-FONT" userId="7e57acaa-4bc6-4644-8edc-0ecdded28594" providerId="ADAL" clId="{69632830-5E2C-4AAB-BE3F-9B87E87CD568}" dt="2021-04-29T22:27:08.298" v="116" actId="47"/>
        <pc:sldMkLst>
          <pc:docMk/>
          <pc:sldMk cId="3694353539" sldId="939"/>
        </pc:sldMkLst>
      </pc:sldChg>
      <pc:sldChg chg="del">
        <pc:chgData name="christophe CHUECOS-FONT" userId="7e57acaa-4bc6-4644-8edc-0ecdded28594" providerId="ADAL" clId="{69632830-5E2C-4AAB-BE3F-9B87E87CD568}" dt="2021-04-29T22:27:09.927" v="118" actId="47"/>
        <pc:sldMkLst>
          <pc:docMk/>
          <pc:sldMk cId="2169397702" sldId="940"/>
        </pc:sldMkLst>
      </pc:sldChg>
      <pc:sldChg chg="del">
        <pc:chgData name="christophe CHUECOS-FONT" userId="7e57acaa-4bc6-4644-8edc-0ecdded28594" providerId="ADAL" clId="{69632830-5E2C-4AAB-BE3F-9B87E87CD568}" dt="2021-04-29T22:27:08.942" v="117" actId="47"/>
        <pc:sldMkLst>
          <pc:docMk/>
          <pc:sldMk cId="4161496407" sldId="941"/>
        </pc:sldMkLst>
      </pc:sldChg>
      <pc:sldChg chg="del">
        <pc:chgData name="christophe CHUECOS-FONT" userId="7e57acaa-4bc6-4644-8edc-0ecdded28594" providerId="ADAL" clId="{69632830-5E2C-4AAB-BE3F-9B87E87CD568}" dt="2021-04-29T22:27:11.124" v="119" actId="47"/>
        <pc:sldMkLst>
          <pc:docMk/>
          <pc:sldMk cId="2395717442" sldId="942"/>
        </pc:sldMkLst>
      </pc:sldChg>
      <pc:sldChg chg="del">
        <pc:chgData name="christophe CHUECOS-FONT" userId="7e57acaa-4bc6-4644-8edc-0ecdded28594" providerId="ADAL" clId="{69632830-5E2C-4AAB-BE3F-9B87E87CD568}" dt="2021-04-29T22:27:11.783" v="120" actId="47"/>
        <pc:sldMkLst>
          <pc:docMk/>
          <pc:sldMk cId="2389229991" sldId="944"/>
        </pc:sldMkLst>
      </pc:sldChg>
      <pc:sldChg chg="del">
        <pc:chgData name="christophe CHUECOS-FONT" userId="7e57acaa-4bc6-4644-8edc-0ecdded28594" providerId="ADAL" clId="{69632830-5E2C-4AAB-BE3F-9B87E87CD568}" dt="2021-04-29T22:27:12.381" v="121" actId="47"/>
        <pc:sldMkLst>
          <pc:docMk/>
          <pc:sldMk cId="3412986615" sldId="945"/>
        </pc:sldMkLst>
      </pc:sldChg>
      <pc:sldChg chg="del">
        <pc:chgData name="christophe CHUECOS-FONT" userId="7e57acaa-4bc6-4644-8edc-0ecdded28594" providerId="ADAL" clId="{69632830-5E2C-4AAB-BE3F-9B87E87CD568}" dt="2021-04-29T22:27:12.605" v="122" actId="47"/>
        <pc:sldMkLst>
          <pc:docMk/>
          <pc:sldMk cId="246643537" sldId="946"/>
        </pc:sldMkLst>
      </pc:sldChg>
      <pc:sldChg chg="modSp mod ord">
        <pc:chgData name="christophe CHUECOS-FONT" userId="7e57acaa-4bc6-4644-8edc-0ecdded28594" providerId="ADAL" clId="{69632830-5E2C-4AAB-BE3F-9B87E87CD568}" dt="2021-04-30T09:16:19.107" v="145" actId="20577"/>
        <pc:sldMkLst>
          <pc:docMk/>
          <pc:sldMk cId="3854939415" sldId="947"/>
        </pc:sldMkLst>
        <pc:spChg chg="mod">
          <ac:chgData name="christophe CHUECOS-FONT" userId="7e57acaa-4bc6-4644-8edc-0ecdded28594" providerId="ADAL" clId="{69632830-5E2C-4AAB-BE3F-9B87E87CD568}" dt="2021-04-30T09:16:19.107" v="145" actId="20577"/>
          <ac:spMkLst>
            <pc:docMk/>
            <pc:sldMk cId="3854939415" sldId="947"/>
            <ac:spMk id="2" creationId="{AB4BD8A2-5C77-4F6B-ACB6-AB917A0C0D72}"/>
          </ac:spMkLst>
        </pc:spChg>
      </pc:sldChg>
      <pc:sldChg chg="del">
        <pc:chgData name="christophe CHUECOS-FONT" userId="7e57acaa-4bc6-4644-8edc-0ecdded28594" providerId="ADAL" clId="{69632830-5E2C-4AAB-BE3F-9B87E87CD568}" dt="2021-04-29T22:27:16.039" v="124" actId="47"/>
        <pc:sldMkLst>
          <pc:docMk/>
          <pc:sldMk cId="404236345" sldId="948"/>
        </pc:sldMkLst>
      </pc:sldChg>
      <pc:sldChg chg="del">
        <pc:chgData name="christophe CHUECOS-FONT" userId="7e57acaa-4bc6-4644-8edc-0ecdded28594" providerId="ADAL" clId="{69632830-5E2C-4AAB-BE3F-9B87E87CD568}" dt="2021-04-29T22:27:16.554" v="125" actId="47"/>
        <pc:sldMkLst>
          <pc:docMk/>
          <pc:sldMk cId="2081772969" sldId="949"/>
        </pc:sldMkLst>
      </pc:sldChg>
      <pc:sldChg chg="del">
        <pc:chgData name="christophe CHUECOS-FONT" userId="7e57acaa-4bc6-4644-8edc-0ecdded28594" providerId="ADAL" clId="{69632830-5E2C-4AAB-BE3F-9B87E87CD568}" dt="2021-04-29T22:27:17.370" v="126" actId="47"/>
        <pc:sldMkLst>
          <pc:docMk/>
          <pc:sldMk cId="1251446674" sldId="950"/>
        </pc:sldMkLst>
      </pc:sldChg>
      <pc:sldChg chg="del">
        <pc:chgData name="christophe CHUECOS-FONT" userId="7e57acaa-4bc6-4644-8edc-0ecdded28594" providerId="ADAL" clId="{69632830-5E2C-4AAB-BE3F-9B87E87CD568}" dt="2021-04-29T22:27:13.427" v="123" actId="47"/>
        <pc:sldMkLst>
          <pc:docMk/>
          <pc:sldMk cId="3226514533" sldId="952"/>
        </pc:sldMkLst>
      </pc:sldChg>
      <pc:sldChg chg="del">
        <pc:chgData name="christophe CHUECOS-FONT" userId="7e57acaa-4bc6-4644-8edc-0ecdded28594" providerId="ADAL" clId="{69632830-5E2C-4AAB-BE3F-9B87E87CD568}" dt="2021-04-30T09:16:04.995" v="130" actId="47"/>
        <pc:sldMkLst>
          <pc:docMk/>
          <pc:sldMk cId="1557249580" sldId="953"/>
        </pc:sldMkLst>
      </pc:sldChg>
      <pc:sldChg chg="del">
        <pc:chgData name="christophe CHUECOS-FONT" userId="7e57acaa-4bc6-4644-8edc-0ecdded28594" providerId="ADAL" clId="{69632830-5E2C-4AAB-BE3F-9B87E87CD568}" dt="2021-04-29T22:27:32.675" v="128" actId="47"/>
        <pc:sldMkLst>
          <pc:docMk/>
          <pc:sldMk cId="4134792754" sldId="954"/>
        </pc:sldMkLst>
      </pc:sldChg>
      <pc:sldChg chg="modSp mod">
        <pc:chgData name="christophe CHUECOS-FONT" userId="7e57acaa-4bc6-4644-8edc-0ecdded28594" providerId="ADAL" clId="{69632830-5E2C-4AAB-BE3F-9B87E87CD568}" dt="2021-04-30T09:20:51.341" v="289" actId="13926"/>
        <pc:sldMkLst>
          <pc:docMk/>
          <pc:sldMk cId="145373554" sldId="955"/>
        </pc:sldMkLst>
        <pc:spChg chg="mod">
          <ac:chgData name="christophe CHUECOS-FONT" userId="7e57acaa-4bc6-4644-8edc-0ecdded28594" providerId="ADAL" clId="{69632830-5E2C-4AAB-BE3F-9B87E87CD568}" dt="2021-04-30T09:20:33.764" v="287" actId="27636"/>
          <ac:spMkLst>
            <pc:docMk/>
            <pc:sldMk cId="145373554" sldId="955"/>
            <ac:spMk id="2" creationId="{41644713-AF21-4543-94FE-A96FEBAA2B11}"/>
          </ac:spMkLst>
        </pc:spChg>
        <pc:graphicFrameChg chg="modGraphic">
          <ac:chgData name="christophe CHUECOS-FONT" userId="7e57acaa-4bc6-4644-8edc-0ecdded28594" providerId="ADAL" clId="{69632830-5E2C-4AAB-BE3F-9B87E87CD568}" dt="2021-04-30T09:20:51.341" v="289" actId="13926"/>
          <ac:graphicFrameMkLst>
            <pc:docMk/>
            <pc:sldMk cId="145373554" sldId="955"/>
            <ac:graphicFrameMk id="4" creationId="{DED4966F-E2DC-47D2-8406-77E6764A6DB7}"/>
          </ac:graphicFrameMkLst>
        </pc:graphicFrameChg>
      </pc:sldChg>
      <pc:sldChg chg="del">
        <pc:chgData name="christophe CHUECOS-FONT" userId="7e57acaa-4bc6-4644-8edc-0ecdded28594" providerId="ADAL" clId="{69632830-5E2C-4AAB-BE3F-9B87E87CD568}" dt="2021-04-29T22:27:32.675" v="128" actId="47"/>
        <pc:sldMkLst>
          <pc:docMk/>
          <pc:sldMk cId="3953886819" sldId="956"/>
        </pc:sldMkLst>
      </pc:sldChg>
      <pc:sldChg chg="del">
        <pc:chgData name="christophe CHUECOS-FONT" userId="7e57acaa-4bc6-4644-8edc-0ecdded28594" providerId="ADAL" clId="{69632830-5E2C-4AAB-BE3F-9B87E87CD568}" dt="2021-04-30T09:22:15.206" v="322" actId="47"/>
        <pc:sldMkLst>
          <pc:docMk/>
          <pc:sldMk cId="1604631660" sldId="957"/>
        </pc:sldMkLst>
      </pc:sldChg>
      <pc:sldChg chg="del">
        <pc:chgData name="christophe CHUECOS-FONT" userId="7e57acaa-4bc6-4644-8edc-0ecdded28594" providerId="ADAL" clId="{69632830-5E2C-4AAB-BE3F-9B87E87CD568}" dt="2021-04-30T09:22:42.402" v="323" actId="47"/>
        <pc:sldMkLst>
          <pc:docMk/>
          <pc:sldMk cId="2629396649" sldId="958"/>
        </pc:sldMkLst>
      </pc:sldChg>
      <pc:sldChg chg="del">
        <pc:chgData name="christophe CHUECOS-FONT" userId="7e57acaa-4bc6-4644-8edc-0ecdded28594" providerId="ADAL" clId="{69632830-5E2C-4AAB-BE3F-9B87E87CD568}" dt="2021-04-29T22:27:40.456" v="129" actId="47"/>
        <pc:sldMkLst>
          <pc:docMk/>
          <pc:sldMk cId="745885902" sldId="959"/>
        </pc:sldMkLst>
      </pc:sldChg>
      <pc:sldChg chg="del">
        <pc:chgData name="christophe CHUECOS-FONT" userId="7e57acaa-4bc6-4644-8edc-0ecdded28594" providerId="ADAL" clId="{69632830-5E2C-4AAB-BE3F-9B87E87CD568}" dt="2021-04-29T22:27:40.456" v="129" actId="47"/>
        <pc:sldMkLst>
          <pc:docMk/>
          <pc:sldMk cId="1431546980" sldId="960"/>
        </pc:sldMkLst>
      </pc:sldChg>
      <pc:sldChg chg="del">
        <pc:chgData name="christophe CHUECOS-FONT" userId="7e57acaa-4bc6-4644-8edc-0ecdded28594" providerId="ADAL" clId="{69632830-5E2C-4AAB-BE3F-9B87E87CD568}" dt="2021-04-29T22:27:40.456" v="129" actId="47"/>
        <pc:sldMkLst>
          <pc:docMk/>
          <pc:sldMk cId="2870954091" sldId="961"/>
        </pc:sldMkLst>
      </pc:sldChg>
      <pc:sldChg chg="del">
        <pc:chgData name="christophe CHUECOS-FONT" userId="7e57acaa-4bc6-4644-8edc-0ecdded28594" providerId="ADAL" clId="{69632830-5E2C-4AAB-BE3F-9B87E87CD568}" dt="2021-04-29T22:27:40.456" v="129" actId="47"/>
        <pc:sldMkLst>
          <pc:docMk/>
          <pc:sldMk cId="924349727" sldId="962"/>
        </pc:sldMkLst>
      </pc:sldChg>
      <pc:sldChg chg="del">
        <pc:chgData name="christophe CHUECOS-FONT" userId="7e57acaa-4bc6-4644-8edc-0ecdded28594" providerId="ADAL" clId="{69632830-5E2C-4AAB-BE3F-9B87E87CD568}" dt="2021-04-29T22:27:40.456" v="129" actId="47"/>
        <pc:sldMkLst>
          <pc:docMk/>
          <pc:sldMk cId="3755857740" sldId="963"/>
        </pc:sldMkLst>
      </pc:sldChg>
      <pc:sldChg chg="del">
        <pc:chgData name="christophe CHUECOS-FONT" userId="7e57acaa-4bc6-4644-8edc-0ecdded28594" providerId="ADAL" clId="{69632830-5E2C-4AAB-BE3F-9B87E87CD568}" dt="2021-04-29T22:27:40.456" v="129" actId="47"/>
        <pc:sldMkLst>
          <pc:docMk/>
          <pc:sldMk cId="952143569" sldId="964"/>
        </pc:sldMkLst>
      </pc:sldChg>
      <pc:sldChg chg="del">
        <pc:chgData name="christophe CHUECOS-FONT" userId="7e57acaa-4bc6-4644-8edc-0ecdded28594" providerId="ADAL" clId="{69632830-5E2C-4AAB-BE3F-9B87E87CD568}" dt="2021-04-29T22:27:40.456" v="129" actId="47"/>
        <pc:sldMkLst>
          <pc:docMk/>
          <pc:sldMk cId="1037609881" sldId="965"/>
        </pc:sldMkLst>
      </pc:sldChg>
      <pc:sldChg chg="del">
        <pc:chgData name="christophe CHUECOS-FONT" userId="7e57acaa-4bc6-4644-8edc-0ecdded28594" providerId="ADAL" clId="{69632830-5E2C-4AAB-BE3F-9B87E87CD568}" dt="2021-04-29T22:27:40.456" v="129" actId="47"/>
        <pc:sldMkLst>
          <pc:docMk/>
          <pc:sldMk cId="198804222" sldId="966"/>
        </pc:sldMkLst>
      </pc:sldChg>
      <pc:sldChg chg="del">
        <pc:chgData name="christophe CHUECOS-FONT" userId="7e57acaa-4bc6-4644-8edc-0ecdded28594" providerId="ADAL" clId="{69632830-5E2C-4AAB-BE3F-9B87E87CD568}" dt="2021-04-29T22:27:40.456" v="129" actId="47"/>
        <pc:sldMkLst>
          <pc:docMk/>
          <pc:sldMk cId="3218206374" sldId="967"/>
        </pc:sldMkLst>
      </pc:sldChg>
      <pc:sldChg chg="del">
        <pc:chgData name="christophe CHUECOS-FONT" userId="7e57acaa-4bc6-4644-8edc-0ecdded28594" providerId="ADAL" clId="{69632830-5E2C-4AAB-BE3F-9B87E87CD568}" dt="2021-04-29T22:27:40.456" v="129" actId="47"/>
        <pc:sldMkLst>
          <pc:docMk/>
          <pc:sldMk cId="480113765" sldId="968"/>
        </pc:sldMkLst>
      </pc:sldChg>
      <pc:sldChg chg="del">
        <pc:chgData name="christophe CHUECOS-FONT" userId="7e57acaa-4bc6-4644-8edc-0ecdded28594" providerId="ADAL" clId="{69632830-5E2C-4AAB-BE3F-9B87E87CD568}" dt="2021-04-29T22:27:40.456" v="129" actId="47"/>
        <pc:sldMkLst>
          <pc:docMk/>
          <pc:sldMk cId="1576801385" sldId="969"/>
        </pc:sldMkLst>
      </pc:sldChg>
      <pc:sldChg chg="del">
        <pc:chgData name="christophe CHUECOS-FONT" userId="7e57acaa-4bc6-4644-8edc-0ecdded28594" providerId="ADAL" clId="{69632830-5E2C-4AAB-BE3F-9B87E87CD568}" dt="2021-04-29T22:27:40.456" v="129" actId="47"/>
        <pc:sldMkLst>
          <pc:docMk/>
          <pc:sldMk cId="1602978590" sldId="970"/>
        </pc:sldMkLst>
      </pc:sldChg>
      <pc:sldChg chg="del">
        <pc:chgData name="christophe CHUECOS-FONT" userId="7e57acaa-4bc6-4644-8edc-0ecdded28594" providerId="ADAL" clId="{69632830-5E2C-4AAB-BE3F-9B87E87CD568}" dt="2021-04-29T22:27:40.456" v="129" actId="47"/>
        <pc:sldMkLst>
          <pc:docMk/>
          <pc:sldMk cId="3656254179" sldId="971"/>
        </pc:sldMkLst>
      </pc:sldChg>
      <pc:sldChg chg="del">
        <pc:chgData name="christophe CHUECOS-FONT" userId="7e57acaa-4bc6-4644-8edc-0ecdded28594" providerId="ADAL" clId="{69632830-5E2C-4AAB-BE3F-9B87E87CD568}" dt="2021-04-29T22:27:40.456" v="129" actId="47"/>
        <pc:sldMkLst>
          <pc:docMk/>
          <pc:sldMk cId="432476417" sldId="972"/>
        </pc:sldMkLst>
      </pc:sldChg>
      <pc:sldChg chg="addSp modSp new mod setBg">
        <pc:chgData name="christophe CHUECOS-FONT" userId="7e57acaa-4bc6-4644-8edc-0ecdded28594" providerId="ADAL" clId="{69632830-5E2C-4AAB-BE3F-9B87E87CD568}" dt="2021-04-29T22:25:16.035" v="102" actId="255"/>
        <pc:sldMkLst>
          <pc:docMk/>
          <pc:sldMk cId="116534882" sldId="973"/>
        </pc:sldMkLst>
        <pc:spChg chg="mod">
          <ac:chgData name="christophe CHUECOS-FONT" userId="7e57acaa-4bc6-4644-8edc-0ecdded28594" providerId="ADAL" clId="{69632830-5E2C-4AAB-BE3F-9B87E87CD568}" dt="2021-04-29T22:24:58.575" v="86" actId="20577"/>
          <ac:spMkLst>
            <pc:docMk/>
            <pc:sldMk cId="116534882" sldId="973"/>
            <ac:spMk id="2" creationId="{4CE1063C-26E9-451E-B581-F9094F771F1C}"/>
          </ac:spMkLst>
        </pc:spChg>
        <pc:spChg chg="mod">
          <ac:chgData name="christophe CHUECOS-FONT" userId="7e57acaa-4bc6-4644-8edc-0ecdded28594" providerId="ADAL" clId="{69632830-5E2C-4AAB-BE3F-9B87E87CD568}" dt="2021-04-29T22:25:16.035" v="102" actId="255"/>
          <ac:spMkLst>
            <pc:docMk/>
            <pc:sldMk cId="116534882" sldId="973"/>
            <ac:spMk id="3" creationId="{4547C894-6E87-49E2-8590-12B2A7E70696}"/>
          </ac:spMkLst>
        </pc:spChg>
        <pc:picChg chg="add">
          <ac:chgData name="christophe CHUECOS-FONT" userId="7e57acaa-4bc6-4644-8edc-0ecdded28594" providerId="ADAL" clId="{69632830-5E2C-4AAB-BE3F-9B87E87CD568}" dt="2021-04-29T22:24:50.202" v="66" actId="26606"/>
          <ac:picMkLst>
            <pc:docMk/>
            <pc:sldMk cId="116534882" sldId="973"/>
            <ac:picMk id="5" creationId="{27D996A6-758F-4354-9504-B9EFAC8C8651}"/>
          </ac:picMkLst>
        </pc:picChg>
        <pc:cxnChg chg="add">
          <ac:chgData name="christophe CHUECOS-FONT" userId="7e57acaa-4bc6-4644-8edc-0ecdded28594" providerId="ADAL" clId="{69632830-5E2C-4AAB-BE3F-9B87E87CD568}" dt="2021-04-29T22:24:50.202" v="66" actId="26606"/>
          <ac:cxnSpMkLst>
            <pc:docMk/>
            <pc:sldMk cId="116534882" sldId="973"/>
            <ac:cxnSpMk id="9" creationId="{A7F400EE-A8A5-48AF-B4D6-291B52C6F0B0}"/>
          </ac:cxnSpMkLst>
        </pc:cxnChg>
      </pc:sldChg>
      <pc:sldChg chg="new del">
        <pc:chgData name="christophe CHUECOS-FONT" userId="7e57acaa-4bc6-4644-8edc-0ecdded28594" providerId="ADAL" clId="{69632830-5E2C-4AAB-BE3F-9B87E87CD568}" dt="2021-04-30T09:17:18.313" v="148" actId="47"/>
        <pc:sldMkLst>
          <pc:docMk/>
          <pc:sldMk cId="1737612263" sldId="974"/>
        </pc:sldMkLst>
      </pc:sldChg>
      <pc:sldChg chg="new del">
        <pc:chgData name="christophe CHUECOS-FONT" userId="7e57acaa-4bc6-4644-8edc-0ecdded28594" providerId="ADAL" clId="{69632830-5E2C-4AAB-BE3F-9B87E87CD568}" dt="2021-04-29T22:26:13.377" v="107" actId="47"/>
        <pc:sldMkLst>
          <pc:docMk/>
          <pc:sldMk cId="1975058359" sldId="974"/>
        </pc:sldMkLst>
      </pc:sldChg>
      <pc:sldChg chg="modSp add mod ord">
        <pc:chgData name="christophe CHUECOS-FONT" userId="7e57acaa-4bc6-4644-8edc-0ecdded28594" providerId="ADAL" clId="{69632830-5E2C-4AAB-BE3F-9B87E87CD568}" dt="2021-04-30T09:20:46.090" v="288" actId="13926"/>
        <pc:sldMkLst>
          <pc:docMk/>
          <pc:sldMk cId="1841325149" sldId="975"/>
        </pc:sldMkLst>
        <pc:spChg chg="mod">
          <ac:chgData name="christophe CHUECOS-FONT" userId="7e57acaa-4bc6-4644-8edc-0ecdded28594" providerId="ADAL" clId="{69632830-5E2C-4AAB-BE3F-9B87E87CD568}" dt="2021-04-30T09:17:24.939" v="160" actId="20577"/>
          <ac:spMkLst>
            <pc:docMk/>
            <pc:sldMk cId="1841325149" sldId="975"/>
            <ac:spMk id="2" creationId="{31C25B89-ECC8-4C4C-9793-BF73FEA1C16C}"/>
          </ac:spMkLst>
        </pc:spChg>
        <pc:graphicFrameChg chg="modGraphic">
          <ac:chgData name="christophe CHUECOS-FONT" userId="7e57acaa-4bc6-4644-8edc-0ecdded28594" providerId="ADAL" clId="{69632830-5E2C-4AAB-BE3F-9B87E87CD568}" dt="2021-04-30T09:20:46.090" v="288" actId="13926"/>
          <ac:graphicFrameMkLst>
            <pc:docMk/>
            <pc:sldMk cId="1841325149" sldId="975"/>
            <ac:graphicFrameMk id="4" creationId="{C8B39154-0893-4BC9-A638-37A89DE54D73}"/>
          </ac:graphicFrameMkLst>
        </pc:graphicFrameChg>
      </pc:sldChg>
      <pc:sldChg chg="modSp add mod">
        <pc:chgData name="christophe CHUECOS-FONT" userId="7e57acaa-4bc6-4644-8edc-0ecdded28594" providerId="ADAL" clId="{69632830-5E2C-4AAB-BE3F-9B87E87CD568}" dt="2021-04-30T09:21:38.281" v="321" actId="20577"/>
        <pc:sldMkLst>
          <pc:docMk/>
          <pc:sldMk cId="2243511648" sldId="976"/>
        </pc:sldMkLst>
        <pc:spChg chg="mod">
          <ac:chgData name="christophe CHUECOS-FONT" userId="7e57acaa-4bc6-4644-8edc-0ecdded28594" providerId="ADAL" clId="{69632830-5E2C-4AAB-BE3F-9B87E87CD568}" dt="2021-04-30T09:21:05.440" v="294" actId="27636"/>
          <ac:spMkLst>
            <pc:docMk/>
            <pc:sldMk cId="2243511648" sldId="976"/>
            <ac:spMk id="2" creationId="{41644713-AF21-4543-94FE-A96FEBAA2B11}"/>
          </ac:spMkLst>
        </pc:spChg>
        <pc:graphicFrameChg chg="modGraphic">
          <ac:chgData name="christophe CHUECOS-FONT" userId="7e57acaa-4bc6-4644-8edc-0ecdded28594" providerId="ADAL" clId="{69632830-5E2C-4AAB-BE3F-9B87E87CD568}" dt="2021-04-30T09:21:38.281" v="321" actId="20577"/>
          <ac:graphicFrameMkLst>
            <pc:docMk/>
            <pc:sldMk cId="2243511648" sldId="976"/>
            <ac:graphicFrameMk id="4" creationId="{DED4966F-E2DC-47D2-8406-77E6764A6DB7}"/>
          </ac:graphicFrameMkLst>
        </pc:graphicFrameChg>
      </pc:sldChg>
      <pc:sldChg chg="new del">
        <pc:chgData name="christophe CHUECOS-FONT" userId="7e57acaa-4bc6-4644-8edc-0ecdded28594" providerId="ADAL" clId="{69632830-5E2C-4AAB-BE3F-9B87E87CD568}" dt="2021-04-30T09:22:56.429" v="328" actId="47"/>
        <pc:sldMkLst>
          <pc:docMk/>
          <pc:sldMk cId="2493772580" sldId="977"/>
        </pc:sldMkLst>
      </pc:sldChg>
      <pc:sldChg chg="modSp add mod ord">
        <pc:chgData name="christophe CHUECOS-FONT" userId="7e57acaa-4bc6-4644-8edc-0ecdded28594" providerId="ADAL" clId="{69632830-5E2C-4AAB-BE3F-9B87E87CD568}" dt="2021-04-30T09:23:17.162" v="369" actId="6549"/>
        <pc:sldMkLst>
          <pc:docMk/>
          <pc:sldMk cId="3188089156" sldId="978"/>
        </pc:sldMkLst>
        <pc:spChg chg="mod">
          <ac:chgData name="christophe CHUECOS-FONT" userId="7e57acaa-4bc6-4644-8edc-0ecdded28594" providerId="ADAL" clId="{69632830-5E2C-4AAB-BE3F-9B87E87CD568}" dt="2021-04-30T09:23:13.084" v="368" actId="20577"/>
          <ac:spMkLst>
            <pc:docMk/>
            <pc:sldMk cId="3188089156" sldId="978"/>
            <ac:spMk id="2" creationId="{AB4BD8A2-5C77-4F6B-ACB6-AB917A0C0D72}"/>
          </ac:spMkLst>
        </pc:spChg>
        <pc:spChg chg="mod">
          <ac:chgData name="christophe CHUECOS-FONT" userId="7e57acaa-4bc6-4644-8edc-0ecdded28594" providerId="ADAL" clId="{69632830-5E2C-4AAB-BE3F-9B87E87CD568}" dt="2021-04-30T09:23:17.162" v="369" actId="6549"/>
          <ac:spMkLst>
            <pc:docMk/>
            <pc:sldMk cId="3188089156" sldId="978"/>
            <ac:spMk id="3" creationId="{667BC496-97F0-4F08-B182-396A614F80AF}"/>
          </ac:spMkLst>
        </pc:spChg>
      </pc:sldChg>
      <pc:sldChg chg="modSp new mod">
        <pc:chgData name="christophe CHUECOS-FONT" userId="7e57acaa-4bc6-4644-8edc-0ecdded28594" providerId="ADAL" clId="{69632830-5E2C-4AAB-BE3F-9B87E87CD568}" dt="2021-04-30T15:39:59.029" v="440" actId="20577"/>
        <pc:sldMkLst>
          <pc:docMk/>
          <pc:sldMk cId="2775532856" sldId="979"/>
        </pc:sldMkLst>
        <pc:spChg chg="mod">
          <ac:chgData name="christophe CHUECOS-FONT" userId="7e57acaa-4bc6-4644-8edc-0ecdded28594" providerId="ADAL" clId="{69632830-5E2C-4AAB-BE3F-9B87E87CD568}" dt="2021-04-30T15:39:59.029" v="440" actId="20577"/>
          <ac:spMkLst>
            <pc:docMk/>
            <pc:sldMk cId="2775532856" sldId="979"/>
            <ac:spMk id="2" creationId="{E61257BC-1DB9-4073-BB61-2CD75AECF7B4}"/>
          </ac:spMkLst>
        </pc:spChg>
        <pc:spChg chg="mod">
          <ac:chgData name="christophe CHUECOS-FONT" userId="7e57acaa-4bc6-4644-8edc-0ecdded28594" providerId="ADAL" clId="{69632830-5E2C-4AAB-BE3F-9B87E87CD568}" dt="2021-04-30T15:39:09.671" v="411" actId="255"/>
          <ac:spMkLst>
            <pc:docMk/>
            <pc:sldMk cId="2775532856" sldId="979"/>
            <ac:spMk id="3" creationId="{FF6A070E-C184-4B6A-B920-427CE400FDE0}"/>
          </ac:spMkLst>
        </pc:spChg>
      </pc:sldChg>
      <pc:sldChg chg="modSp new mod">
        <pc:chgData name="christophe CHUECOS-FONT" userId="7e57acaa-4bc6-4644-8edc-0ecdded28594" providerId="ADAL" clId="{69632830-5E2C-4AAB-BE3F-9B87E87CD568}" dt="2021-04-30T15:39:51.358" v="430" actId="20577"/>
        <pc:sldMkLst>
          <pc:docMk/>
          <pc:sldMk cId="1581712688" sldId="980"/>
        </pc:sldMkLst>
        <pc:spChg chg="mod">
          <ac:chgData name="christophe CHUECOS-FONT" userId="7e57acaa-4bc6-4644-8edc-0ecdded28594" providerId="ADAL" clId="{69632830-5E2C-4AAB-BE3F-9B87E87CD568}" dt="2021-04-30T15:39:51.358" v="430" actId="20577"/>
          <ac:spMkLst>
            <pc:docMk/>
            <pc:sldMk cId="1581712688" sldId="980"/>
            <ac:spMk id="2" creationId="{3F019CE6-C4A7-499E-B692-71CBD23648DB}"/>
          </ac:spMkLst>
        </pc:spChg>
        <pc:spChg chg="mod">
          <ac:chgData name="christophe CHUECOS-FONT" userId="7e57acaa-4bc6-4644-8edc-0ecdded28594" providerId="ADAL" clId="{69632830-5E2C-4AAB-BE3F-9B87E87CD568}" dt="2021-04-30T15:39:45.238" v="416" actId="5793"/>
          <ac:spMkLst>
            <pc:docMk/>
            <pc:sldMk cId="1581712688" sldId="980"/>
            <ac:spMk id="3" creationId="{51B3B3AE-5554-4A0C-8350-2C744674B520}"/>
          </ac:spMkLst>
        </pc:spChg>
      </pc:sldChg>
    </pc:docChg>
  </pc:docChgLst>
  <pc:docChgLst>
    <pc:chgData name="christophe CHUECOS-FONT" userId="7e57acaa-4bc6-4644-8edc-0ecdded28594" providerId="ADAL" clId="{C2BEBF3A-ECBA-4860-AC25-66AB61261A96}"/>
    <pc:docChg chg="undo custSel addSld delSld modSld sldOrd">
      <pc:chgData name="christophe CHUECOS-FONT" userId="7e57acaa-4bc6-4644-8edc-0ecdded28594" providerId="ADAL" clId="{C2BEBF3A-ECBA-4860-AC25-66AB61261A96}" dt="2021-03-18T23:43:37.528" v="1750" actId="6549"/>
      <pc:docMkLst>
        <pc:docMk/>
      </pc:docMkLst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2831747057" sldId="258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2174517492" sldId="259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3018494457" sldId="266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1765093222" sldId="267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1677432768" sldId="297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130980171" sldId="299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2049130264" sldId="300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3173007657" sldId="301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1804052538" sldId="302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2883904425" sldId="309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655996761" sldId="317"/>
        </pc:sldMkLst>
      </pc:sldChg>
      <pc:sldChg chg="add">
        <pc:chgData name="christophe CHUECOS-FONT" userId="7e57acaa-4bc6-4644-8edc-0ecdded28594" providerId="ADAL" clId="{C2BEBF3A-ECBA-4860-AC25-66AB61261A96}" dt="2021-03-18T22:54:09.324" v="856"/>
        <pc:sldMkLst>
          <pc:docMk/>
          <pc:sldMk cId="1271957293" sldId="338"/>
        </pc:sldMkLst>
      </pc:sldChg>
      <pc:sldChg chg="add">
        <pc:chgData name="christophe CHUECOS-FONT" userId="7e57acaa-4bc6-4644-8edc-0ecdded28594" providerId="ADAL" clId="{C2BEBF3A-ECBA-4860-AC25-66AB61261A96}" dt="2021-03-18T22:54:09.324" v="856"/>
        <pc:sldMkLst>
          <pc:docMk/>
          <pc:sldMk cId="2720677423" sldId="342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649958680" sldId="672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3843576302" sldId="677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3945995144" sldId="779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2909694736" sldId="802"/>
        </pc:sldMkLst>
      </pc:sldChg>
      <pc:sldChg chg="del">
        <pc:chgData name="christophe CHUECOS-FONT" userId="7e57acaa-4bc6-4644-8edc-0ecdded28594" providerId="ADAL" clId="{C2BEBF3A-ECBA-4860-AC25-66AB61261A96}" dt="2021-03-18T21:54:39.040" v="1" actId="47"/>
        <pc:sldMkLst>
          <pc:docMk/>
          <pc:sldMk cId="2502557485" sldId="803"/>
        </pc:sldMkLst>
      </pc:sldChg>
      <pc:sldChg chg="del">
        <pc:chgData name="christophe CHUECOS-FONT" userId="7e57acaa-4bc6-4644-8edc-0ecdded28594" providerId="ADAL" clId="{C2BEBF3A-ECBA-4860-AC25-66AB61261A96}" dt="2021-03-18T21:54:39.040" v="1" actId="47"/>
        <pc:sldMkLst>
          <pc:docMk/>
          <pc:sldMk cId="3840082568" sldId="820"/>
        </pc:sldMkLst>
      </pc:sldChg>
      <pc:sldChg chg="del">
        <pc:chgData name="christophe CHUECOS-FONT" userId="7e57acaa-4bc6-4644-8edc-0ecdded28594" providerId="ADAL" clId="{C2BEBF3A-ECBA-4860-AC25-66AB61261A96}" dt="2021-03-18T21:54:39.040" v="1" actId="47"/>
        <pc:sldMkLst>
          <pc:docMk/>
          <pc:sldMk cId="556005404" sldId="840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2080613406" sldId="848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2013905306" sldId="849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2136421834" sldId="850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737365082" sldId="851"/>
        </pc:sldMkLst>
      </pc:sldChg>
      <pc:sldChg chg="del">
        <pc:chgData name="christophe CHUECOS-FONT" userId="7e57acaa-4bc6-4644-8edc-0ecdded28594" providerId="ADAL" clId="{C2BEBF3A-ECBA-4860-AC25-66AB61261A96}" dt="2021-03-18T21:54:39.040" v="1" actId="47"/>
        <pc:sldMkLst>
          <pc:docMk/>
          <pc:sldMk cId="363521892" sldId="852"/>
        </pc:sldMkLst>
      </pc:sldChg>
      <pc:sldChg chg="del">
        <pc:chgData name="christophe CHUECOS-FONT" userId="7e57acaa-4bc6-4644-8edc-0ecdded28594" providerId="ADAL" clId="{C2BEBF3A-ECBA-4860-AC25-66AB61261A96}" dt="2021-03-18T21:54:39.040" v="1" actId="47"/>
        <pc:sldMkLst>
          <pc:docMk/>
          <pc:sldMk cId="3501519798" sldId="853"/>
        </pc:sldMkLst>
      </pc:sldChg>
      <pc:sldChg chg="del">
        <pc:chgData name="christophe CHUECOS-FONT" userId="7e57acaa-4bc6-4644-8edc-0ecdded28594" providerId="ADAL" clId="{C2BEBF3A-ECBA-4860-AC25-66AB61261A96}" dt="2021-03-18T21:54:05.128" v="0" actId="47"/>
        <pc:sldMkLst>
          <pc:docMk/>
          <pc:sldMk cId="500929375" sldId="854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502558103" sldId="855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4231120075" sldId="856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981759289" sldId="857"/>
        </pc:sldMkLst>
      </pc:sldChg>
      <pc:sldChg chg="del">
        <pc:chgData name="christophe CHUECOS-FONT" userId="7e57acaa-4bc6-4644-8edc-0ecdded28594" providerId="ADAL" clId="{C2BEBF3A-ECBA-4860-AC25-66AB61261A96}" dt="2021-03-18T21:54:46.634" v="2" actId="47"/>
        <pc:sldMkLst>
          <pc:docMk/>
          <pc:sldMk cId="363262154" sldId="858"/>
        </pc:sldMkLst>
      </pc:sldChg>
      <pc:sldChg chg="del">
        <pc:chgData name="christophe CHUECOS-FONT" userId="7e57acaa-4bc6-4644-8edc-0ecdded28594" providerId="ADAL" clId="{C2BEBF3A-ECBA-4860-AC25-66AB61261A96}" dt="2021-03-18T21:54:46.634" v="2" actId="47"/>
        <pc:sldMkLst>
          <pc:docMk/>
          <pc:sldMk cId="1680082296" sldId="859"/>
        </pc:sldMkLst>
      </pc:sldChg>
      <pc:sldChg chg="del">
        <pc:chgData name="christophe CHUECOS-FONT" userId="7e57acaa-4bc6-4644-8edc-0ecdded28594" providerId="ADAL" clId="{C2BEBF3A-ECBA-4860-AC25-66AB61261A96}" dt="2021-03-18T21:54:46.634" v="2" actId="47"/>
        <pc:sldMkLst>
          <pc:docMk/>
          <pc:sldMk cId="3596322850" sldId="860"/>
        </pc:sldMkLst>
      </pc:sldChg>
      <pc:sldChg chg="del">
        <pc:chgData name="christophe CHUECOS-FONT" userId="7e57acaa-4bc6-4644-8edc-0ecdded28594" providerId="ADAL" clId="{C2BEBF3A-ECBA-4860-AC25-66AB61261A96}" dt="2021-03-18T21:54:46.634" v="2" actId="47"/>
        <pc:sldMkLst>
          <pc:docMk/>
          <pc:sldMk cId="1183493075" sldId="861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270596968" sldId="863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279228181" sldId="864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272375052" sldId="865"/>
        </pc:sldMkLst>
      </pc:sldChg>
      <pc:sldChg chg="del">
        <pc:chgData name="christophe CHUECOS-FONT" userId="7e57acaa-4bc6-4644-8edc-0ecdded28594" providerId="ADAL" clId="{C2BEBF3A-ECBA-4860-AC25-66AB61261A96}" dt="2021-03-18T22:22:38.942" v="258" actId="47"/>
        <pc:sldMkLst>
          <pc:docMk/>
          <pc:sldMk cId="1840640440" sldId="866"/>
        </pc:sldMkLst>
      </pc:sldChg>
      <pc:sldChg chg="addSp delSp modSp add mod">
        <pc:chgData name="christophe CHUECOS-FONT" userId="7e57acaa-4bc6-4644-8edc-0ecdded28594" providerId="ADAL" clId="{C2BEBF3A-ECBA-4860-AC25-66AB61261A96}" dt="2021-03-18T22:32:26.886" v="598" actId="13822"/>
        <pc:sldMkLst>
          <pc:docMk/>
          <pc:sldMk cId="2561881984" sldId="890"/>
        </pc:sldMkLst>
        <pc:spChg chg="mod">
          <ac:chgData name="christophe CHUECOS-FONT" userId="7e57acaa-4bc6-4644-8edc-0ecdded28594" providerId="ADAL" clId="{C2BEBF3A-ECBA-4860-AC25-66AB61261A96}" dt="2021-03-18T22:27:09.862" v="419" actId="20577"/>
          <ac:spMkLst>
            <pc:docMk/>
            <pc:sldMk cId="2561881984" sldId="890"/>
            <ac:spMk id="2" creationId="{AEFCB68E-E041-4E46-A233-3C2208DA32CB}"/>
          </ac:spMkLst>
        </pc:spChg>
        <pc:spChg chg="del mod">
          <ac:chgData name="christophe CHUECOS-FONT" userId="7e57acaa-4bc6-4644-8edc-0ecdded28594" providerId="ADAL" clId="{C2BEBF3A-ECBA-4860-AC25-66AB61261A96}" dt="2021-03-18T22:30:06.490" v="485" actId="21"/>
          <ac:spMkLst>
            <pc:docMk/>
            <pc:sldMk cId="2561881984" sldId="890"/>
            <ac:spMk id="3" creationId="{9FA71A85-160A-4CFF-9241-BA71D421B86B}"/>
          </ac:spMkLst>
        </pc:spChg>
        <pc:spChg chg="add del mod">
          <ac:chgData name="christophe CHUECOS-FONT" userId="7e57acaa-4bc6-4644-8edc-0ecdded28594" providerId="ADAL" clId="{C2BEBF3A-ECBA-4860-AC25-66AB61261A96}" dt="2021-03-18T22:30:24.717" v="486" actId="1032"/>
          <ac:spMkLst>
            <pc:docMk/>
            <pc:sldMk cId="2561881984" sldId="890"/>
            <ac:spMk id="6" creationId="{E2B09787-EBA4-4F7F-B3DC-8EDC708E9D42}"/>
          </ac:spMkLst>
        </pc:spChg>
        <pc:graphicFrameChg chg="add del mod modGraphic">
          <ac:chgData name="christophe CHUECOS-FONT" userId="7e57acaa-4bc6-4644-8edc-0ecdded28594" providerId="ADAL" clId="{C2BEBF3A-ECBA-4860-AC25-66AB61261A96}" dt="2021-03-18T22:29:58.959" v="482" actId="1032"/>
          <ac:graphicFrameMkLst>
            <pc:docMk/>
            <pc:sldMk cId="2561881984" sldId="890"/>
            <ac:graphicFrameMk id="4" creationId="{0142870B-CDF0-4CA1-A568-2B7AF0EC7EC1}"/>
          </ac:graphicFrameMkLst>
        </pc:graphicFrameChg>
        <pc:graphicFrameChg chg="add mod modGraphic">
          <ac:chgData name="christophe CHUECOS-FONT" userId="7e57acaa-4bc6-4644-8edc-0ecdded28594" providerId="ADAL" clId="{C2BEBF3A-ECBA-4860-AC25-66AB61261A96}" dt="2021-03-18T22:32:26.886" v="598" actId="13822"/>
          <ac:graphicFrameMkLst>
            <pc:docMk/>
            <pc:sldMk cId="2561881984" sldId="890"/>
            <ac:graphicFrameMk id="7" creationId="{E256D12B-7717-428E-9F1F-CEAB66B37BB8}"/>
          </ac:graphicFrameMkLst>
        </pc:graphicFrameChg>
      </pc:sldChg>
      <pc:sldChg chg="addSp delSp modSp add mod">
        <pc:chgData name="christophe CHUECOS-FONT" userId="7e57acaa-4bc6-4644-8edc-0ecdded28594" providerId="ADAL" clId="{C2BEBF3A-ECBA-4860-AC25-66AB61261A96}" dt="2021-03-18T22:13:16.513" v="187" actId="14734"/>
        <pc:sldMkLst>
          <pc:docMk/>
          <pc:sldMk cId="162758596" sldId="891"/>
        </pc:sldMkLst>
        <pc:spChg chg="mod">
          <ac:chgData name="christophe CHUECOS-FONT" userId="7e57acaa-4bc6-4644-8edc-0ecdded28594" providerId="ADAL" clId="{C2BEBF3A-ECBA-4860-AC25-66AB61261A96}" dt="2021-03-18T22:10:16.097" v="179" actId="6549"/>
          <ac:spMkLst>
            <pc:docMk/>
            <pc:sldMk cId="162758596" sldId="891"/>
            <ac:spMk id="3" creationId="{9FA71A85-160A-4CFF-9241-BA71D421B86B}"/>
          </ac:spMkLst>
        </pc:spChg>
        <pc:spChg chg="add del mod">
          <ac:chgData name="christophe CHUECOS-FONT" userId="7e57acaa-4bc6-4644-8edc-0ecdded28594" providerId="ADAL" clId="{C2BEBF3A-ECBA-4860-AC25-66AB61261A96}" dt="2021-03-18T22:10:01.392" v="178"/>
          <ac:spMkLst>
            <pc:docMk/>
            <pc:sldMk cId="162758596" sldId="891"/>
            <ac:spMk id="5" creationId="{64E23044-CE04-4B94-850D-BD5548A88D42}"/>
          </ac:spMkLst>
        </pc:spChg>
        <pc:graphicFrameChg chg="add del mod">
          <ac:chgData name="christophe CHUECOS-FONT" userId="7e57acaa-4bc6-4644-8edc-0ecdded28594" providerId="ADAL" clId="{C2BEBF3A-ECBA-4860-AC25-66AB61261A96}" dt="2021-03-18T22:10:01.392" v="178"/>
          <ac:graphicFrameMkLst>
            <pc:docMk/>
            <pc:sldMk cId="162758596" sldId="891"/>
            <ac:graphicFrameMk id="4" creationId="{A71DFF4D-A8AC-479D-8ABA-950DEC91BB55}"/>
          </ac:graphicFrameMkLst>
        </pc:graphicFrameChg>
        <pc:graphicFrameChg chg="add mod modGraphic">
          <ac:chgData name="christophe CHUECOS-FONT" userId="7e57acaa-4bc6-4644-8edc-0ecdded28594" providerId="ADAL" clId="{C2BEBF3A-ECBA-4860-AC25-66AB61261A96}" dt="2021-03-18T22:13:16.513" v="187" actId="14734"/>
          <ac:graphicFrameMkLst>
            <pc:docMk/>
            <pc:sldMk cId="162758596" sldId="891"/>
            <ac:graphicFrameMk id="6" creationId="{90B6971D-E1FB-42BE-A7E9-5FA4D585EE92}"/>
          </ac:graphicFrameMkLst>
        </pc:graphicFrameChg>
      </pc:sldChg>
      <pc:sldChg chg="addSp modSp add mod">
        <pc:chgData name="christophe CHUECOS-FONT" userId="7e57acaa-4bc6-4644-8edc-0ecdded28594" providerId="ADAL" clId="{C2BEBF3A-ECBA-4860-AC25-66AB61261A96}" dt="2021-03-18T22:20:51.004" v="193" actId="14100"/>
        <pc:sldMkLst>
          <pc:docMk/>
          <pc:sldMk cId="3592509618" sldId="892"/>
        </pc:sldMkLst>
        <pc:spChg chg="mod">
          <ac:chgData name="christophe CHUECOS-FONT" userId="7e57acaa-4bc6-4644-8edc-0ecdded28594" providerId="ADAL" clId="{C2BEBF3A-ECBA-4860-AC25-66AB61261A96}" dt="2021-03-18T22:20:33.544" v="189" actId="6549"/>
          <ac:spMkLst>
            <pc:docMk/>
            <pc:sldMk cId="3592509618" sldId="892"/>
            <ac:spMk id="3" creationId="{9FA71A85-160A-4CFF-9241-BA71D421B86B}"/>
          </ac:spMkLst>
        </pc:spChg>
        <pc:picChg chg="add mod">
          <ac:chgData name="christophe CHUECOS-FONT" userId="7e57acaa-4bc6-4644-8edc-0ecdded28594" providerId="ADAL" clId="{C2BEBF3A-ECBA-4860-AC25-66AB61261A96}" dt="2021-03-18T22:20:51.004" v="193" actId="14100"/>
          <ac:picMkLst>
            <pc:docMk/>
            <pc:sldMk cId="3592509618" sldId="892"/>
            <ac:picMk id="5" creationId="{A1D02FCC-25C3-466A-AA38-333553E41D2F}"/>
          </ac:picMkLst>
        </pc:picChg>
      </pc:sldChg>
      <pc:sldChg chg="add ord">
        <pc:chgData name="christophe CHUECOS-FONT" userId="7e57acaa-4bc6-4644-8edc-0ecdded28594" providerId="ADAL" clId="{C2BEBF3A-ECBA-4860-AC25-66AB61261A96}" dt="2021-03-18T22:22:59.717" v="261"/>
        <pc:sldMkLst>
          <pc:docMk/>
          <pc:sldMk cId="1833177139" sldId="893"/>
        </pc:sldMkLst>
      </pc:sldChg>
      <pc:sldChg chg="modSp add del mod ord">
        <pc:chgData name="christophe CHUECOS-FONT" userId="7e57acaa-4bc6-4644-8edc-0ecdded28594" providerId="ADAL" clId="{C2BEBF3A-ECBA-4860-AC25-66AB61261A96}" dt="2021-03-18T22:34:13.350" v="633" actId="47"/>
        <pc:sldMkLst>
          <pc:docMk/>
          <pc:sldMk cId="769505132" sldId="894"/>
        </pc:sldMkLst>
        <pc:spChg chg="mod">
          <ac:chgData name="christophe CHUECOS-FONT" userId="7e57acaa-4bc6-4644-8edc-0ecdded28594" providerId="ADAL" clId="{C2BEBF3A-ECBA-4860-AC25-66AB61261A96}" dt="2021-03-18T22:26:54.705" v="415" actId="20577"/>
          <ac:spMkLst>
            <pc:docMk/>
            <pc:sldMk cId="769505132" sldId="894"/>
            <ac:spMk id="3" creationId="{9FA71A85-160A-4CFF-9241-BA71D421B86B}"/>
          </ac:spMkLst>
        </pc:spChg>
      </pc:sldChg>
      <pc:sldChg chg="modSp add mod ord">
        <pc:chgData name="christophe CHUECOS-FONT" userId="7e57acaa-4bc6-4644-8edc-0ecdded28594" providerId="ADAL" clId="{C2BEBF3A-ECBA-4860-AC25-66AB61261A96}" dt="2021-03-18T22:31:38.669" v="596" actId="20577"/>
        <pc:sldMkLst>
          <pc:docMk/>
          <pc:sldMk cId="3528439896" sldId="895"/>
        </pc:sldMkLst>
        <pc:spChg chg="mod">
          <ac:chgData name="christophe CHUECOS-FONT" userId="7e57acaa-4bc6-4644-8edc-0ecdded28594" providerId="ADAL" clId="{C2BEBF3A-ECBA-4860-AC25-66AB61261A96}" dt="2021-03-18T22:31:38.669" v="596" actId="20577"/>
          <ac:spMkLst>
            <pc:docMk/>
            <pc:sldMk cId="3528439896" sldId="895"/>
            <ac:spMk id="2" creationId="{AEFCB68E-E041-4E46-A233-3C2208DA32CB}"/>
          </ac:spMkLst>
        </pc:spChg>
      </pc:sldChg>
      <pc:sldChg chg="addSp delSp modSp new mod setBg">
        <pc:chgData name="christophe CHUECOS-FONT" userId="7e57acaa-4bc6-4644-8edc-0ecdded28594" providerId="ADAL" clId="{C2BEBF3A-ECBA-4860-AC25-66AB61261A96}" dt="2021-03-18T22:33:43.651" v="627" actId="14100"/>
        <pc:sldMkLst>
          <pc:docMk/>
          <pc:sldMk cId="2970499838" sldId="896"/>
        </pc:sldMkLst>
        <pc:spChg chg="mod">
          <ac:chgData name="christophe CHUECOS-FONT" userId="7e57acaa-4bc6-4644-8edc-0ecdded28594" providerId="ADAL" clId="{C2BEBF3A-ECBA-4860-AC25-66AB61261A96}" dt="2021-03-18T22:33:43.651" v="627" actId="14100"/>
          <ac:spMkLst>
            <pc:docMk/>
            <pc:sldMk cId="2970499838" sldId="896"/>
            <ac:spMk id="2" creationId="{63C23A44-953E-4DCE-A2FC-7526BBD520AD}"/>
          </ac:spMkLst>
        </pc:spChg>
        <pc:spChg chg="del">
          <ac:chgData name="christophe CHUECOS-FONT" userId="7e57acaa-4bc6-4644-8edc-0ecdded28594" providerId="ADAL" clId="{C2BEBF3A-ECBA-4860-AC25-66AB61261A96}" dt="2021-03-18T22:33:31.763" v="612" actId="26606"/>
          <ac:spMkLst>
            <pc:docMk/>
            <pc:sldMk cId="2970499838" sldId="896"/>
            <ac:spMk id="3" creationId="{934AA38B-5BF8-4BF2-BBA3-C8382E081187}"/>
          </ac:spMkLst>
        </pc:spChg>
        <pc:spChg chg="add">
          <ac:chgData name="christophe CHUECOS-FONT" userId="7e57acaa-4bc6-4644-8edc-0ecdded28594" providerId="ADAL" clId="{C2BEBF3A-ECBA-4860-AC25-66AB61261A96}" dt="2021-03-18T22:33:31.763" v="612" actId="26606"/>
          <ac:spMkLst>
            <pc:docMk/>
            <pc:sldMk cId="2970499838" sldId="896"/>
            <ac:spMk id="9" creationId="{E91DC736-0EF8-4F87-9146-EBF1D2EE4D3D}"/>
          </ac:spMkLst>
        </pc:spChg>
        <pc:spChg chg="add">
          <ac:chgData name="christophe CHUECOS-FONT" userId="7e57acaa-4bc6-4644-8edc-0ecdded28594" providerId="ADAL" clId="{C2BEBF3A-ECBA-4860-AC25-66AB61261A96}" dt="2021-03-18T22:33:31.763" v="612" actId="26606"/>
          <ac:spMkLst>
            <pc:docMk/>
            <pc:sldMk cId="2970499838" sldId="896"/>
            <ac:spMk id="11" creationId="{097CD68E-23E3-4007-8847-CD0944C4F7BE}"/>
          </ac:spMkLst>
        </pc:spChg>
        <pc:spChg chg="add">
          <ac:chgData name="christophe CHUECOS-FONT" userId="7e57acaa-4bc6-4644-8edc-0ecdded28594" providerId="ADAL" clId="{C2BEBF3A-ECBA-4860-AC25-66AB61261A96}" dt="2021-03-18T22:33:31.763" v="612" actId="26606"/>
          <ac:spMkLst>
            <pc:docMk/>
            <pc:sldMk cId="2970499838" sldId="896"/>
            <ac:spMk id="13" creationId="{AF2F604E-43BE-4DC3-B983-E071523364F8}"/>
          </ac:spMkLst>
        </pc:spChg>
        <pc:spChg chg="add">
          <ac:chgData name="christophe CHUECOS-FONT" userId="7e57acaa-4bc6-4644-8edc-0ecdded28594" providerId="ADAL" clId="{C2BEBF3A-ECBA-4860-AC25-66AB61261A96}" dt="2021-03-18T22:33:31.763" v="612" actId="26606"/>
          <ac:spMkLst>
            <pc:docMk/>
            <pc:sldMk cId="2970499838" sldId="896"/>
            <ac:spMk id="15" creationId="{08C9B587-E65E-4B52-B37C-ABEBB6E87928}"/>
          </ac:spMkLst>
        </pc:spChg>
        <pc:picChg chg="add">
          <ac:chgData name="christophe CHUECOS-FONT" userId="7e57acaa-4bc6-4644-8edc-0ecdded28594" providerId="ADAL" clId="{C2BEBF3A-ECBA-4860-AC25-66AB61261A96}" dt="2021-03-18T22:33:31.763" v="612" actId="26606"/>
          <ac:picMkLst>
            <pc:docMk/>
            <pc:sldMk cId="2970499838" sldId="896"/>
            <ac:picMk id="5" creationId="{040A7521-ECAB-4BBC-ADFA-3C6D881ABFA4}"/>
          </ac:picMkLst>
        </pc:picChg>
      </pc:sldChg>
      <pc:sldChg chg="new del">
        <pc:chgData name="christophe CHUECOS-FONT" userId="7e57acaa-4bc6-4644-8edc-0ecdded28594" providerId="ADAL" clId="{C2BEBF3A-ECBA-4860-AC25-66AB61261A96}" dt="2021-03-18T22:33:53.591" v="629" actId="47"/>
        <pc:sldMkLst>
          <pc:docMk/>
          <pc:sldMk cId="1467064995" sldId="897"/>
        </pc:sldMkLst>
      </pc:sldChg>
      <pc:sldChg chg="modSp add mod ord">
        <pc:chgData name="christophe CHUECOS-FONT" userId="7e57acaa-4bc6-4644-8edc-0ecdded28594" providerId="ADAL" clId="{C2BEBF3A-ECBA-4860-AC25-66AB61261A96}" dt="2021-03-18T22:35:40.180" v="708" actId="20577"/>
        <pc:sldMkLst>
          <pc:docMk/>
          <pc:sldMk cId="3210478480" sldId="897"/>
        </pc:sldMkLst>
        <pc:spChg chg="mod">
          <ac:chgData name="christophe CHUECOS-FONT" userId="7e57acaa-4bc6-4644-8edc-0ecdded28594" providerId="ADAL" clId="{C2BEBF3A-ECBA-4860-AC25-66AB61261A96}" dt="2021-03-18T22:35:40.180" v="708" actId="20577"/>
          <ac:spMkLst>
            <pc:docMk/>
            <pc:sldMk cId="3210478480" sldId="897"/>
            <ac:spMk id="2" creationId="{63C23A44-953E-4DCE-A2FC-7526BBD520AD}"/>
          </ac:spMkLst>
        </pc:spChg>
      </pc:sldChg>
      <pc:sldChg chg="addSp delSp modSp add mod setClrOvrMap">
        <pc:chgData name="christophe CHUECOS-FONT" userId="7e57acaa-4bc6-4644-8edc-0ecdded28594" providerId="ADAL" clId="{C2BEBF3A-ECBA-4860-AC25-66AB61261A96}" dt="2021-03-18T22:50:32.702" v="829" actId="26606"/>
        <pc:sldMkLst>
          <pc:docMk/>
          <pc:sldMk cId="1288409538" sldId="898"/>
        </pc:sldMkLst>
        <pc:spChg chg="mod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2" creationId="{63C23A44-953E-4DCE-A2FC-7526BBD520AD}"/>
          </ac:spMkLst>
        </pc:spChg>
        <pc:spChg chg="del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9" creationId="{E91DC736-0EF8-4F87-9146-EBF1D2EE4D3D}"/>
          </ac:spMkLst>
        </pc:spChg>
        <pc:spChg chg="del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11" creationId="{097CD68E-23E3-4007-8847-CD0944C4F7BE}"/>
          </ac:spMkLst>
        </pc:spChg>
        <pc:spChg chg="del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13" creationId="{AF2F604E-43BE-4DC3-B983-E071523364F8}"/>
          </ac:spMkLst>
        </pc:spChg>
        <pc:spChg chg="del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15" creationId="{08C9B587-E65E-4B52-B37C-ABEBB6E87928}"/>
          </ac:spMkLst>
        </pc:spChg>
        <pc:spChg chg="add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20" creationId="{5A59F003-E00A-43F9-91DC-CC54E3B87466}"/>
          </ac:spMkLst>
        </pc:spChg>
        <pc:spChg chg="add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22" creationId="{D74A4382-E3AD-430A-9A1F-DFA3E0E77A7D}"/>
          </ac:spMkLst>
        </pc:spChg>
        <pc:spChg chg="add">
          <ac:chgData name="christophe CHUECOS-FONT" userId="7e57acaa-4bc6-4644-8edc-0ecdded28594" providerId="ADAL" clId="{C2BEBF3A-ECBA-4860-AC25-66AB61261A96}" dt="2021-03-18T22:50:32.702" v="829" actId="26606"/>
          <ac:spMkLst>
            <pc:docMk/>
            <pc:sldMk cId="1288409538" sldId="898"/>
            <ac:spMk id="24" creationId="{79F40191-0F44-4FD1-82CC-ACB507C14BE6}"/>
          </ac:spMkLst>
        </pc:spChg>
        <pc:picChg chg="mod">
          <ac:chgData name="christophe CHUECOS-FONT" userId="7e57acaa-4bc6-4644-8edc-0ecdded28594" providerId="ADAL" clId="{C2BEBF3A-ECBA-4860-AC25-66AB61261A96}" dt="2021-03-18T22:50:32.702" v="829" actId="26606"/>
          <ac:picMkLst>
            <pc:docMk/>
            <pc:sldMk cId="1288409538" sldId="898"/>
            <ac:picMk id="5" creationId="{040A7521-ECAB-4BBC-ADFA-3C6D881ABFA4}"/>
          </ac:picMkLst>
        </pc:picChg>
      </pc:sldChg>
      <pc:sldChg chg="addSp delSp modSp add mod ord">
        <pc:chgData name="christophe CHUECOS-FONT" userId="7e57acaa-4bc6-4644-8edc-0ecdded28594" providerId="ADAL" clId="{C2BEBF3A-ECBA-4860-AC25-66AB61261A96}" dt="2021-03-18T22:39:54.948" v="807" actId="14100"/>
        <pc:sldMkLst>
          <pc:docMk/>
          <pc:sldMk cId="3763403550" sldId="899"/>
        </pc:sldMkLst>
        <pc:spChg chg="mod">
          <ac:chgData name="christophe CHUECOS-FONT" userId="7e57acaa-4bc6-4644-8edc-0ecdded28594" providerId="ADAL" clId="{C2BEBF3A-ECBA-4860-AC25-66AB61261A96}" dt="2021-03-18T22:39:54.948" v="807" actId="14100"/>
          <ac:spMkLst>
            <pc:docMk/>
            <pc:sldMk cId="3763403550" sldId="899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3" creationId="{9FA71A85-160A-4CFF-9241-BA71D421B86B}"/>
          </ac:spMkLst>
        </pc:spChg>
        <pc:spChg chg="add del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17" creationId="{100EDD19-6802-4EC3-95CE-CFFAB042CFD6}"/>
          </ac:spMkLst>
        </pc:spChg>
        <pc:spChg chg="add del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19" creationId="{DB17E863-922E-4C26-BD64-E8FD41D28661}"/>
          </ac:spMkLst>
        </pc:spChg>
        <pc:spChg chg="add del">
          <ac:chgData name="christophe CHUECOS-FONT" userId="7e57acaa-4bc6-4644-8edc-0ecdded28594" providerId="ADAL" clId="{C2BEBF3A-ECBA-4860-AC25-66AB61261A96}" dt="2021-03-18T22:38:22.994" v="797" actId="26606"/>
          <ac:spMkLst>
            <pc:docMk/>
            <pc:sldMk cId="3763403550" sldId="899"/>
            <ac:spMk id="24" creationId="{0B9EE3F3-89B7-43C3-8651-C4C96830993D}"/>
          </ac:spMkLst>
        </pc:spChg>
        <pc:spChg chg="add del">
          <ac:chgData name="christophe CHUECOS-FONT" userId="7e57acaa-4bc6-4644-8edc-0ecdded28594" providerId="ADAL" clId="{C2BEBF3A-ECBA-4860-AC25-66AB61261A96}" dt="2021-03-18T22:38:22.994" v="797" actId="26606"/>
          <ac:spMkLst>
            <pc:docMk/>
            <pc:sldMk cId="3763403550" sldId="899"/>
            <ac:spMk id="26" creationId="{33AE4636-AEEC-45D6-84D4-7AC2DA48ECF8}"/>
          </ac:spMkLst>
        </pc:spChg>
        <pc:spChg chg="add del">
          <ac:chgData name="christophe CHUECOS-FONT" userId="7e57acaa-4bc6-4644-8edc-0ecdded28594" providerId="ADAL" clId="{C2BEBF3A-ECBA-4860-AC25-66AB61261A96}" dt="2021-03-18T22:38:22.994" v="797" actId="26606"/>
          <ac:spMkLst>
            <pc:docMk/>
            <pc:sldMk cId="3763403550" sldId="899"/>
            <ac:spMk id="28" creationId="{8D9CE0F4-2EB2-4F1F-8AAC-DB3571D9FE10}"/>
          </ac:spMkLst>
        </pc:spChg>
        <pc:spChg chg="add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30" creationId="{0570A85B-3810-4F95-97B0-CBF4CCDB381C}"/>
          </ac:spMkLst>
        </pc:spChg>
        <pc:spChg chg="add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31" creationId="{2550BE34-C2B8-49B8-8519-67A8CAD51AE9}"/>
          </ac:spMkLst>
        </pc:spChg>
        <pc:spChg chg="add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32" creationId="{A7457DD9-5A45-400A-AB4B-4B4EDECA25F1}"/>
          </ac:spMkLst>
        </pc:spChg>
        <pc:spChg chg="add">
          <ac:chgData name="christophe CHUECOS-FONT" userId="7e57acaa-4bc6-4644-8edc-0ecdded28594" providerId="ADAL" clId="{C2BEBF3A-ECBA-4860-AC25-66AB61261A96}" dt="2021-03-18T22:38:23.024" v="798" actId="26606"/>
          <ac:spMkLst>
            <pc:docMk/>
            <pc:sldMk cId="3763403550" sldId="899"/>
            <ac:spMk id="33" creationId="{441CF7D6-A660-431A-B0BB-140A0D5556B6}"/>
          </ac:spMkLst>
        </pc:spChg>
        <pc:graphicFrameChg chg="add mod modGraphic">
          <ac:chgData name="christophe CHUECOS-FONT" userId="7e57acaa-4bc6-4644-8edc-0ecdded28594" providerId="ADAL" clId="{C2BEBF3A-ECBA-4860-AC25-66AB61261A96}" dt="2021-03-18T22:39:28.915" v="802" actId="207"/>
          <ac:graphicFrameMkLst>
            <pc:docMk/>
            <pc:sldMk cId="3763403550" sldId="899"/>
            <ac:graphicFrameMk id="4" creationId="{899E9AA8-912A-43B7-A4FB-BE9A9DE6E87E}"/>
          </ac:graphicFrameMkLst>
        </pc:graphicFrameChg>
        <pc:picChg chg="del">
          <ac:chgData name="christophe CHUECOS-FONT" userId="7e57acaa-4bc6-4644-8edc-0ecdded28594" providerId="ADAL" clId="{C2BEBF3A-ECBA-4860-AC25-66AB61261A96}" dt="2021-03-18T22:36:48.765" v="750" actId="478"/>
          <ac:picMkLst>
            <pc:docMk/>
            <pc:sldMk cId="3763403550" sldId="899"/>
            <ac:picMk id="5" creationId="{A1D02FCC-25C3-466A-AA38-333553E41D2F}"/>
          </ac:picMkLst>
        </pc:picChg>
      </pc:sldChg>
      <pc:sldChg chg="addSp delSp modSp add del mod ord">
        <pc:chgData name="christophe CHUECOS-FONT" userId="7e57acaa-4bc6-4644-8edc-0ecdded28594" providerId="ADAL" clId="{C2BEBF3A-ECBA-4860-AC25-66AB61261A96}" dt="2021-03-18T22:49:45.438" v="825" actId="47"/>
        <pc:sldMkLst>
          <pc:docMk/>
          <pc:sldMk cId="1354499749" sldId="900"/>
        </pc:sldMkLst>
        <pc:spChg chg="mod">
          <ac:chgData name="christophe CHUECOS-FONT" userId="7e57acaa-4bc6-4644-8edc-0ecdded28594" providerId="ADAL" clId="{C2BEBF3A-ECBA-4860-AC25-66AB61261A96}" dt="2021-03-18T22:40:19.563" v="810" actId="20577"/>
          <ac:spMkLst>
            <pc:docMk/>
            <pc:sldMk cId="1354499749" sldId="900"/>
            <ac:spMk id="2" creationId="{AEFCB68E-E041-4E46-A233-3C2208DA32CB}"/>
          </ac:spMkLst>
        </pc:spChg>
        <pc:graphicFrameChg chg="del modGraphic">
          <ac:chgData name="christophe CHUECOS-FONT" userId="7e57acaa-4bc6-4644-8edc-0ecdded28594" providerId="ADAL" clId="{C2BEBF3A-ECBA-4860-AC25-66AB61261A96}" dt="2021-03-18T22:48:11.265" v="814" actId="478"/>
          <ac:graphicFrameMkLst>
            <pc:docMk/>
            <pc:sldMk cId="1354499749" sldId="900"/>
            <ac:graphicFrameMk id="4" creationId="{899E9AA8-912A-43B7-A4FB-BE9A9DE6E87E}"/>
          </ac:graphicFrameMkLst>
        </pc:graphicFrameChg>
        <pc:picChg chg="add mod">
          <ac:chgData name="christophe CHUECOS-FONT" userId="7e57acaa-4bc6-4644-8edc-0ecdded28594" providerId="ADAL" clId="{C2BEBF3A-ECBA-4860-AC25-66AB61261A96}" dt="2021-03-18T22:48:49.498" v="817" actId="14100"/>
          <ac:picMkLst>
            <pc:docMk/>
            <pc:sldMk cId="1354499749" sldId="900"/>
            <ac:picMk id="6" creationId="{97F6DE1E-D78E-4F04-A0E2-7B5A8D9AE6C6}"/>
          </ac:picMkLst>
        </pc:picChg>
      </pc:sldChg>
      <pc:sldChg chg="addSp delSp modSp new mod">
        <pc:chgData name="christophe CHUECOS-FONT" userId="7e57acaa-4bc6-4644-8edc-0ecdded28594" providerId="ADAL" clId="{C2BEBF3A-ECBA-4860-AC25-66AB61261A96}" dt="2021-03-18T22:49:27.867" v="823" actId="14100"/>
        <pc:sldMkLst>
          <pc:docMk/>
          <pc:sldMk cId="456064155" sldId="901"/>
        </pc:sldMkLst>
        <pc:spChg chg="del mod">
          <ac:chgData name="christophe CHUECOS-FONT" userId="7e57acaa-4bc6-4644-8edc-0ecdded28594" providerId="ADAL" clId="{C2BEBF3A-ECBA-4860-AC25-66AB61261A96}" dt="2021-03-18T22:49:20.690" v="821" actId="21"/>
          <ac:spMkLst>
            <pc:docMk/>
            <pc:sldMk cId="456064155" sldId="901"/>
            <ac:spMk id="2" creationId="{563C3254-B9AA-4645-B47F-E86EDD9EE1B8}"/>
          </ac:spMkLst>
        </pc:spChg>
        <pc:spChg chg="del">
          <ac:chgData name="christophe CHUECOS-FONT" userId="7e57acaa-4bc6-4644-8edc-0ecdded28594" providerId="ADAL" clId="{C2BEBF3A-ECBA-4860-AC25-66AB61261A96}" dt="2021-03-18T22:49:13.704" v="819" actId="931"/>
          <ac:spMkLst>
            <pc:docMk/>
            <pc:sldMk cId="456064155" sldId="901"/>
            <ac:spMk id="3" creationId="{247BF5D3-CBCB-4451-B5D9-9A160E93ADC1}"/>
          </ac:spMkLst>
        </pc:spChg>
        <pc:picChg chg="add mod">
          <ac:chgData name="christophe CHUECOS-FONT" userId="7e57acaa-4bc6-4644-8edc-0ecdded28594" providerId="ADAL" clId="{C2BEBF3A-ECBA-4860-AC25-66AB61261A96}" dt="2021-03-18T22:49:27.867" v="823" actId="14100"/>
          <ac:picMkLst>
            <pc:docMk/>
            <pc:sldMk cId="456064155" sldId="901"/>
            <ac:picMk id="5" creationId="{9E5A8C8C-819C-46F4-AB03-862877E6AC92}"/>
          </ac:picMkLst>
        </pc:picChg>
      </pc:sldChg>
      <pc:sldChg chg="modSp add mod">
        <pc:chgData name="christophe CHUECOS-FONT" userId="7e57acaa-4bc6-4644-8edc-0ecdded28594" providerId="ADAL" clId="{C2BEBF3A-ECBA-4860-AC25-66AB61261A96}" dt="2021-03-18T22:50:07.949" v="827" actId="14100"/>
        <pc:sldMkLst>
          <pc:docMk/>
          <pc:sldMk cId="3566007874" sldId="902"/>
        </pc:sldMkLst>
        <pc:picChg chg="mod">
          <ac:chgData name="christophe CHUECOS-FONT" userId="7e57acaa-4bc6-4644-8edc-0ecdded28594" providerId="ADAL" clId="{C2BEBF3A-ECBA-4860-AC25-66AB61261A96}" dt="2021-03-18T22:50:07.949" v="827" actId="14100"/>
          <ac:picMkLst>
            <pc:docMk/>
            <pc:sldMk cId="3566007874" sldId="902"/>
            <ac:picMk id="5" creationId="{9E5A8C8C-819C-46F4-AB03-862877E6AC92}"/>
          </ac:picMkLst>
        </pc:picChg>
      </pc:sldChg>
      <pc:sldChg chg="addSp modSp new mod setBg">
        <pc:chgData name="christophe CHUECOS-FONT" userId="7e57acaa-4bc6-4644-8edc-0ecdded28594" providerId="ADAL" clId="{C2BEBF3A-ECBA-4860-AC25-66AB61261A96}" dt="2021-03-18T23:37:09.809" v="1693" actId="26606"/>
        <pc:sldMkLst>
          <pc:docMk/>
          <pc:sldMk cId="518596460" sldId="903"/>
        </pc:sldMkLst>
        <pc:spChg chg="mod">
          <ac:chgData name="christophe CHUECOS-FONT" userId="7e57acaa-4bc6-4644-8edc-0ecdded28594" providerId="ADAL" clId="{C2BEBF3A-ECBA-4860-AC25-66AB61261A96}" dt="2021-03-18T23:37:09.809" v="1693" actId="26606"/>
          <ac:spMkLst>
            <pc:docMk/>
            <pc:sldMk cId="518596460" sldId="903"/>
            <ac:spMk id="2" creationId="{41644713-AF21-4543-94FE-A96FEBAA2B11}"/>
          </ac:spMkLst>
        </pc:spChg>
        <pc:spChg chg="mod">
          <ac:chgData name="christophe CHUECOS-FONT" userId="7e57acaa-4bc6-4644-8edc-0ecdded28594" providerId="ADAL" clId="{C2BEBF3A-ECBA-4860-AC25-66AB61261A96}" dt="2021-03-18T23:37:09.809" v="1693" actId="26606"/>
          <ac:spMkLst>
            <pc:docMk/>
            <pc:sldMk cId="518596460" sldId="903"/>
            <ac:spMk id="3" creationId="{6E6AB3AA-03B3-4E7A-94A3-3EB3E0E9D005}"/>
          </ac:spMkLst>
        </pc:spChg>
        <pc:spChg chg="add">
          <ac:chgData name="christophe CHUECOS-FONT" userId="7e57acaa-4bc6-4644-8edc-0ecdded28594" providerId="ADAL" clId="{C2BEBF3A-ECBA-4860-AC25-66AB61261A96}" dt="2021-03-18T23:37:09.809" v="1693" actId="26606"/>
          <ac:spMkLst>
            <pc:docMk/>
            <pc:sldMk cId="518596460" sldId="903"/>
            <ac:spMk id="8" creationId="{1ACA2EA0-FFD3-42EC-9406-B595015ED96E}"/>
          </ac:spMkLst>
        </pc:spChg>
        <pc:spChg chg="add">
          <ac:chgData name="christophe CHUECOS-FONT" userId="7e57acaa-4bc6-4644-8edc-0ecdded28594" providerId="ADAL" clId="{C2BEBF3A-ECBA-4860-AC25-66AB61261A96}" dt="2021-03-18T23:37:09.809" v="1693" actId="26606"/>
          <ac:spMkLst>
            <pc:docMk/>
            <pc:sldMk cId="518596460" sldId="903"/>
            <ac:spMk id="10" creationId="{D5288BCE-665C-472A-8C43-664BCFA31E43}"/>
          </ac:spMkLst>
        </pc:spChg>
        <pc:spChg chg="add">
          <ac:chgData name="christophe CHUECOS-FONT" userId="7e57acaa-4bc6-4644-8edc-0ecdded28594" providerId="ADAL" clId="{C2BEBF3A-ECBA-4860-AC25-66AB61261A96}" dt="2021-03-18T23:37:09.809" v="1693" actId="26606"/>
          <ac:spMkLst>
            <pc:docMk/>
            <pc:sldMk cId="518596460" sldId="903"/>
            <ac:spMk id="12" creationId="{46C57131-53A7-4C1A-BEA8-25F06A06AD29}"/>
          </ac:spMkLst>
        </pc:spChg>
      </pc:sldChg>
      <pc:sldChg chg="addSp delSp modSp add mod ord setBg setClrOvrMap">
        <pc:chgData name="christophe CHUECOS-FONT" userId="7e57acaa-4bc6-4644-8edc-0ecdded28594" providerId="ADAL" clId="{C2BEBF3A-ECBA-4860-AC25-66AB61261A96}" dt="2021-03-18T23:43:37.528" v="1750" actId="6549"/>
        <pc:sldMkLst>
          <pc:docMk/>
          <pc:sldMk cId="2856685236" sldId="904"/>
        </pc:sldMkLst>
        <pc:spChg chg="mod">
          <ac:chgData name="christophe CHUECOS-FONT" userId="7e57acaa-4bc6-4644-8edc-0ecdded28594" providerId="ADAL" clId="{C2BEBF3A-ECBA-4860-AC25-66AB61261A96}" dt="2021-03-18T23:36:53.360" v="1692" actId="26606"/>
          <ac:spMkLst>
            <pc:docMk/>
            <pc:sldMk cId="2856685236" sldId="904"/>
            <ac:spMk id="2" creationId="{02517F6E-26E9-44E8-815E-774552D95FD0}"/>
          </ac:spMkLst>
        </pc:spChg>
        <pc:spChg chg="mod ord">
          <ac:chgData name="christophe CHUECOS-FONT" userId="7e57acaa-4bc6-4644-8edc-0ecdded28594" providerId="ADAL" clId="{C2BEBF3A-ECBA-4860-AC25-66AB61261A96}" dt="2021-03-18T23:43:37.528" v="1750" actId="6549"/>
          <ac:spMkLst>
            <pc:docMk/>
            <pc:sldMk cId="2856685236" sldId="904"/>
            <ac:spMk id="5" creationId="{DFEA2082-E7DE-4453-8158-54F380B94285}"/>
          </ac:spMkLst>
        </pc:spChg>
        <pc:spChg chg="del">
          <ac:chgData name="christophe CHUECOS-FONT" userId="7e57acaa-4bc6-4644-8edc-0ecdded28594" providerId="ADAL" clId="{C2BEBF3A-ECBA-4860-AC25-66AB61261A96}" dt="2021-03-18T23:36:53.360" v="1692" actId="26606"/>
          <ac:spMkLst>
            <pc:docMk/>
            <pc:sldMk cId="2856685236" sldId="904"/>
            <ac:spMk id="77" creationId="{8537B233-9CDD-4A90-AABB-A8963DEE4FBC}"/>
          </ac:spMkLst>
        </pc:spChg>
        <pc:spChg chg="add">
          <ac:chgData name="christophe CHUECOS-FONT" userId="7e57acaa-4bc6-4644-8edc-0ecdded28594" providerId="ADAL" clId="{C2BEBF3A-ECBA-4860-AC25-66AB61261A96}" dt="2021-03-18T23:36:53.360" v="1692" actId="26606"/>
          <ac:spMkLst>
            <pc:docMk/>
            <pc:sldMk cId="2856685236" sldId="904"/>
            <ac:spMk id="84" creationId="{23E547B5-89CF-4EC0-96DE-25771AED0799}"/>
          </ac:spMkLst>
        </pc:spChg>
        <pc:spChg chg="add">
          <ac:chgData name="christophe CHUECOS-FONT" userId="7e57acaa-4bc6-4644-8edc-0ecdded28594" providerId="ADAL" clId="{C2BEBF3A-ECBA-4860-AC25-66AB61261A96}" dt="2021-03-18T23:36:53.360" v="1692" actId="26606"/>
          <ac:spMkLst>
            <pc:docMk/>
            <pc:sldMk cId="2856685236" sldId="904"/>
            <ac:spMk id="86" creationId="{3F0B8CEB-8279-4E5E-A0CE-1FC9F71736F2}"/>
          </ac:spMkLst>
        </pc:spChg>
        <pc:picChg chg="mod">
          <ac:chgData name="christophe CHUECOS-FONT" userId="7e57acaa-4bc6-4644-8edc-0ecdded28594" providerId="ADAL" clId="{C2BEBF3A-ECBA-4860-AC25-66AB61261A96}" dt="2021-03-18T23:36:53.360" v="1692" actId="26606"/>
          <ac:picMkLst>
            <pc:docMk/>
            <pc:sldMk cId="2856685236" sldId="904"/>
            <ac:picMk id="36" creationId="{FC9EF324-339C-4E46-9508-BF0C86AAC793}"/>
          </ac:picMkLst>
        </pc:picChg>
        <pc:cxnChg chg="del">
          <ac:chgData name="christophe CHUECOS-FONT" userId="7e57acaa-4bc6-4644-8edc-0ecdded28594" providerId="ADAL" clId="{C2BEBF3A-ECBA-4860-AC25-66AB61261A96}" dt="2021-03-18T23:36:53.360" v="1692" actId="26606"/>
          <ac:cxnSpMkLst>
            <pc:docMk/>
            <pc:sldMk cId="2856685236" sldId="904"/>
            <ac:cxnSpMk id="79" creationId="{040575EE-C594-4566-BC00-663004E52AB5}"/>
          </ac:cxnSpMkLst>
        </pc:cxnChg>
      </pc:sldChg>
      <pc:sldChg chg="modSp add mod ord">
        <pc:chgData name="christophe CHUECOS-FONT" userId="7e57acaa-4bc6-4644-8edc-0ecdded28594" providerId="ADAL" clId="{C2BEBF3A-ECBA-4860-AC25-66AB61261A96}" dt="2021-03-18T22:55:00.066" v="879" actId="6549"/>
        <pc:sldMkLst>
          <pc:docMk/>
          <pc:sldMk cId="963568808" sldId="905"/>
        </pc:sldMkLst>
        <pc:spChg chg="mod">
          <ac:chgData name="christophe CHUECOS-FONT" userId="7e57acaa-4bc6-4644-8edc-0ecdded28594" providerId="ADAL" clId="{C2BEBF3A-ECBA-4860-AC25-66AB61261A96}" dt="2021-03-18T22:55:00.066" v="879" actId="6549"/>
          <ac:spMkLst>
            <pc:docMk/>
            <pc:sldMk cId="963568808" sldId="905"/>
            <ac:spMk id="5" creationId="{DFEA2082-E7DE-4453-8158-54F380B94285}"/>
          </ac:spMkLst>
        </pc:spChg>
      </pc:sldChg>
      <pc:sldChg chg="modSp add mod ord">
        <pc:chgData name="christophe CHUECOS-FONT" userId="7e57acaa-4bc6-4644-8edc-0ecdded28594" providerId="ADAL" clId="{C2BEBF3A-ECBA-4860-AC25-66AB61261A96}" dt="2021-03-18T23:03:35.194" v="1562" actId="13926"/>
        <pc:sldMkLst>
          <pc:docMk/>
          <pc:sldMk cId="2413877595" sldId="906"/>
        </pc:sldMkLst>
        <pc:spChg chg="mod">
          <ac:chgData name="christophe CHUECOS-FONT" userId="7e57acaa-4bc6-4644-8edc-0ecdded28594" providerId="ADAL" clId="{C2BEBF3A-ECBA-4860-AC25-66AB61261A96}" dt="2021-03-18T23:00:51.209" v="1388" actId="20577"/>
          <ac:spMkLst>
            <pc:docMk/>
            <pc:sldMk cId="2413877595" sldId="906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C2BEBF3A-ECBA-4860-AC25-66AB61261A96}" dt="2021-03-18T23:03:35.194" v="1562" actId="13926"/>
          <ac:spMkLst>
            <pc:docMk/>
            <pc:sldMk cId="2413877595" sldId="906"/>
            <ac:spMk id="3" creationId="{9FA71A85-160A-4CFF-9241-BA71D421B86B}"/>
          </ac:spMkLst>
        </pc:spChg>
      </pc:sldChg>
      <pc:sldChg chg="addSp modSp add mod">
        <pc:chgData name="christophe CHUECOS-FONT" userId="7e57acaa-4bc6-4644-8edc-0ecdded28594" providerId="ADAL" clId="{C2BEBF3A-ECBA-4860-AC25-66AB61261A96}" dt="2021-03-18T23:36:29.851" v="1691" actId="20577"/>
        <pc:sldMkLst>
          <pc:docMk/>
          <pc:sldMk cId="606901911" sldId="907"/>
        </pc:sldMkLst>
        <pc:spChg chg="mod">
          <ac:chgData name="christophe CHUECOS-FONT" userId="7e57acaa-4bc6-4644-8edc-0ecdded28594" providerId="ADAL" clId="{C2BEBF3A-ECBA-4860-AC25-66AB61261A96}" dt="2021-03-18T23:36:29.851" v="1691" actId="20577"/>
          <ac:spMkLst>
            <pc:docMk/>
            <pc:sldMk cId="606901911" sldId="907"/>
            <ac:spMk id="3" creationId="{6E6AB3AA-03B3-4E7A-94A3-3EB3E0E9D005}"/>
          </ac:spMkLst>
        </pc:spChg>
        <pc:graphicFrameChg chg="add mod modGraphic">
          <ac:chgData name="christophe CHUECOS-FONT" userId="7e57acaa-4bc6-4644-8edc-0ecdded28594" providerId="ADAL" clId="{C2BEBF3A-ECBA-4860-AC25-66AB61261A96}" dt="2021-03-18T23:36:19.589" v="1676" actId="255"/>
          <ac:graphicFrameMkLst>
            <pc:docMk/>
            <pc:sldMk cId="606901911" sldId="907"/>
            <ac:graphicFrameMk id="4" creationId="{AD30B320-E949-46DE-88E4-430E435C5149}"/>
          </ac:graphicFrameMkLst>
        </pc:graphicFrameChg>
      </pc:sldChg>
      <pc:sldChg chg="addSp delSp modSp add mod">
        <pc:chgData name="christophe CHUECOS-FONT" userId="7e57acaa-4bc6-4644-8edc-0ecdded28594" providerId="ADAL" clId="{C2BEBF3A-ECBA-4860-AC25-66AB61261A96}" dt="2021-03-18T23:39:34.788" v="1718" actId="14100"/>
        <pc:sldMkLst>
          <pc:docMk/>
          <pc:sldMk cId="3810924798" sldId="908"/>
        </pc:sldMkLst>
        <pc:spChg chg="del mod">
          <ac:chgData name="christophe CHUECOS-FONT" userId="7e57acaa-4bc6-4644-8edc-0ecdded28594" providerId="ADAL" clId="{C2BEBF3A-ECBA-4860-AC25-66AB61261A96}" dt="2021-03-18T23:38:36.079" v="1710"/>
          <ac:spMkLst>
            <pc:docMk/>
            <pc:sldMk cId="3810924798" sldId="908"/>
            <ac:spMk id="3" creationId="{6E6AB3AA-03B3-4E7A-94A3-3EB3E0E9D005}"/>
          </ac:spMkLst>
        </pc:spChg>
        <pc:graphicFrameChg chg="del">
          <ac:chgData name="christophe CHUECOS-FONT" userId="7e57acaa-4bc6-4644-8edc-0ecdded28594" providerId="ADAL" clId="{C2BEBF3A-ECBA-4860-AC25-66AB61261A96}" dt="2021-03-18T23:38:25.863" v="1695" actId="478"/>
          <ac:graphicFrameMkLst>
            <pc:docMk/>
            <pc:sldMk cId="3810924798" sldId="908"/>
            <ac:graphicFrameMk id="4" creationId="{AD30B320-E949-46DE-88E4-430E435C5149}"/>
          </ac:graphicFrameMkLst>
        </pc:graphicFrameChg>
        <pc:graphicFrameChg chg="add mod modGraphic">
          <ac:chgData name="christophe CHUECOS-FONT" userId="7e57acaa-4bc6-4644-8edc-0ecdded28594" providerId="ADAL" clId="{C2BEBF3A-ECBA-4860-AC25-66AB61261A96}" dt="2021-03-18T23:39:34.788" v="1718" actId="14100"/>
          <ac:graphicFrameMkLst>
            <pc:docMk/>
            <pc:sldMk cId="3810924798" sldId="908"/>
            <ac:graphicFrameMk id="5" creationId="{43C069CA-369C-4FE3-84C1-BB47F63F8528}"/>
          </ac:graphicFrameMkLst>
        </pc:graphicFrameChg>
      </pc:sldChg>
      <pc:sldChg chg="addSp delSp modSp add mod addCm">
        <pc:chgData name="christophe CHUECOS-FONT" userId="7e57acaa-4bc6-4644-8edc-0ecdded28594" providerId="ADAL" clId="{C2BEBF3A-ECBA-4860-AC25-66AB61261A96}" dt="2021-03-18T23:42:33.889" v="1736" actId="14100"/>
        <pc:sldMkLst>
          <pc:docMk/>
          <pc:sldMk cId="1480198139" sldId="909"/>
        </pc:sldMkLst>
        <pc:spChg chg="del">
          <ac:chgData name="christophe CHUECOS-FONT" userId="7e57acaa-4bc6-4644-8edc-0ecdded28594" providerId="ADAL" clId="{C2BEBF3A-ECBA-4860-AC25-66AB61261A96}" dt="2021-03-18T23:41:17.645" v="1727" actId="21"/>
          <ac:spMkLst>
            <pc:docMk/>
            <pc:sldMk cId="1480198139" sldId="909"/>
            <ac:spMk id="2" creationId="{41644713-AF21-4543-94FE-A96FEBAA2B11}"/>
          </ac:spMkLst>
        </pc:spChg>
        <pc:spChg chg="add del mod">
          <ac:chgData name="christophe CHUECOS-FONT" userId="7e57acaa-4bc6-4644-8edc-0ecdded28594" providerId="ADAL" clId="{C2BEBF3A-ECBA-4860-AC25-66AB61261A96}" dt="2021-03-18T23:40:50.116" v="1724"/>
          <ac:spMkLst>
            <pc:docMk/>
            <pc:sldMk cId="1480198139" sldId="909"/>
            <ac:spMk id="4" creationId="{23EFB48C-8B05-432F-B3CA-70CF4B54BE2A}"/>
          </ac:spMkLst>
        </pc:spChg>
        <pc:spChg chg="add del mod">
          <ac:chgData name="christophe CHUECOS-FONT" userId="7e57acaa-4bc6-4644-8edc-0ecdded28594" providerId="ADAL" clId="{C2BEBF3A-ECBA-4860-AC25-66AB61261A96}" dt="2021-03-18T23:41:59.174" v="1732" actId="21"/>
          <ac:spMkLst>
            <pc:docMk/>
            <pc:sldMk cId="1480198139" sldId="909"/>
            <ac:spMk id="8" creationId="{67B91E09-3E36-47DC-B23D-CA7F469C5F77}"/>
          </ac:spMkLst>
        </pc:spChg>
        <pc:spChg chg="add del mod">
          <ac:chgData name="christophe CHUECOS-FONT" userId="7e57acaa-4bc6-4644-8edc-0ecdded28594" providerId="ADAL" clId="{C2BEBF3A-ECBA-4860-AC25-66AB61261A96}" dt="2021-03-18T23:41:48.405" v="1731"/>
          <ac:spMkLst>
            <pc:docMk/>
            <pc:sldMk cId="1480198139" sldId="909"/>
            <ac:spMk id="10" creationId="{530FEB83-F28E-4450-AFD7-75C29BD02B31}"/>
          </ac:spMkLst>
        </pc:spChg>
        <pc:spChg chg="add del mod">
          <ac:chgData name="christophe CHUECOS-FONT" userId="7e57acaa-4bc6-4644-8edc-0ecdded28594" providerId="ADAL" clId="{C2BEBF3A-ECBA-4860-AC25-66AB61261A96}" dt="2021-03-18T23:41:27.290" v="1729" actId="21"/>
          <ac:spMkLst>
            <pc:docMk/>
            <pc:sldMk cId="1480198139" sldId="909"/>
            <ac:spMk id="11" creationId="{18543A2C-569F-4216-9CE3-E201FE2A80B5}"/>
          </ac:spMkLst>
        </pc:spChg>
        <pc:graphicFrameChg chg="del mod modGraphic">
          <ac:chgData name="christophe CHUECOS-FONT" userId="7e57acaa-4bc6-4644-8edc-0ecdded28594" providerId="ADAL" clId="{C2BEBF3A-ECBA-4860-AC25-66AB61261A96}" dt="2021-03-18T23:40:10.151" v="1723" actId="21"/>
          <ac:graphicFrameMkLst>
            <pc:docMk/>
            <pc:sldMk cId="1480198139" sldId="909"/>
            <ac:graphicFrameMk id="5" creationId="{43C069CA-369C-4FE3-84C1-BB47F63F8528}"/>
          </ac:graphicFrameMkLst>
        </pc:graphicFrameChg>
        <pc:graphicFrameChg chg="add del mod modGraphic">
          <ac:chgData name="christophe CHUECOS-FONT" userId="7e57acaa-4bc6-4644-8edc-0ecdded28594" providerId="ADAL" clId="{C2BEBF3A-ECBA-4860-AC25-66AB61261A96}" dt="2021-03-18T23:41:17.645" v="1727" actId="21"/>
          <ac:graphicFrameMkLst>
            <pc:docMk/>
            <pc:sldMk cId="1480198139" sldId="909"/>
            <ac:graphicFrameMk id="6" creationId="{E5CEB532-113F-44BB-89D7-7CB8490AEFFC}"/>
          </ac:graphicFrameMkLst>
        </pc:graphicFrameChg>
        <pc:graphicFrameChg chg="add del mod">
          <ac:chgData name="christophe CHUECOS-FONT" userId="7e57acaa-4bc6-4644-8edc-0ecdded28594" providerId="ADAL" clId="{C2BEBF3A-ECBA-4860-AC25-66AB61261A96}" dt="2021-03-18T23:41:27.290" v="1729" actId="21"/>
          <ac:graphicFrameMkLst>
            <pc:docMk/>
            <pc:sldMk cId="1480198139" sldId="909"/>
            <ac:graphicFrameMk id="12" creationId="{3F2BC7C0-3058-45B5-831C-2A0247FF33A6}"/>
          </ac:graphicFrameMkLst>
        </pc:graphicFrameChg>
        <pc:graphicFrameChg chg="add mod modGraphic">
          <ac:chgData name="christophe CHUECOS-FONT" userId="7e57acaa-4bc6-4644-8edc-0ecdded28594" providerId="ADAL" clId="{C2BEBF3A-ECBA-4860-AC25-66AB61261A96}" dt="2021-03-18T23:42:33.889" v="1736" actId="14100"/>
          <ac:graphicFrameMkLst>
            <pc:docMk/>
            <pc:sldMk cId="1480198139" sldId="909"/>
            <ac:graphicFrameMk id="13" creationId="{6EB9F717-B5A8-4A5D-B160-A8BE78AE15BF}"/>
          </ac:graphicFrameMkLst>
        </pc:graphicFrameChg>
      </pc:sldChg>
      <pc:sldChg chg="modSp add mod ord">
        <pc:chgData name="christophe CHUECOS-FONT" userId="7e57acaa-4bc6-4644-8edc-0ecdded28594" providerId="ADAL" clId="{C2BEBF3A-ECBA-4860-AC25-66AB61261A96}" dt="2021-03-18T23:43:18.317" v="1742" actId="255"/>
        <pc:sldMkLst>
          <pc:docMk/>
          <pc:sldMk cId="4043781952" sldId="910"/>
        </pc:sldMkLst>
        <pc:spChg chg="mod">
          <ac:chgData name="christophe CHUECOS-FONT" userId="7e57acaa-4bc6-4644-8edc-0ecdded28594" providerId="ADAL" clId="{C2BEBF3A-ECBA-4860-AC25-66AB61261A96}" dt="2021-03-18T23:43:18.317" v="1742" actId="255"/>
          <ac:spMkLst>
            <pc:docMk/>
            <pc:sldMk cId="4043781952" sldId="910"/>
            <ac:spMk id="5" creationId="{DFEA2082-E7DE-4453-8158-54F380B94285}"/>
          </ac:spMkLst>
        </pc:spChg>
      </pc:sldChg>
    </pc:docChg>
  </pc:docChgLst>
  <pc:docChgLst>
    <pc:chgData name="christophe CHUECOS-FONT" userId="7e57acaa-4bc6-4644-8edc-0ecdded28594" providerId="ADAL" clId="{67DE474F-9E2C-4F68-B79B-1B1AA065A498}"/>
    <pc:docChg chg="undo custSel addSld delSld modSld sldOrd delMainMaster">
      <pc:chgData name="christophe CHUECOS-FONT" userId="7e57acaa-4bc6-4644-8edc-0ecdded28594" providerId="ADAL" clId="{67DE474F-9E2C-4F68-B79B-1B1AA065A498}" dt="2021-04-02T14:31:52.164" v="2736" actId="20577"/>
      <pc:docMkLst>
        <pc:docMk/>
      </pc:docMkLst>
      <pc:sldChg chg="modSp mod">
        <pc:chgData name="christophe CHUECOS-FONT" userId="7e57acaa-4bc6-4644-8edc-0ecdded28594" providerId="ADAL" clId="{67DE474F-9E2C-4F68-B79B-1B1AA065A498}" dt="2021-04-01T21:08:33.219" v="18" actId="27636"/>
        <pc:sldMkLst>
          <pc:docMk/>
          <pc:sldMk cId="3848639155" sldId="256"/>
        </pc:sldMkLst>
        <pc:spChg chg="mod">
          <ac:chgData name="christophe CHUECOS-FONT" userId="7e57acaa-4bc6-4644-8edc-0ecdded28594" providerId="ADAL" clId="{67DE474F-9E2C-4F68-B79B-1B1AA065A498}" dt="2021-04-01T21:08:33.219" v="18" actId="27636"/>
          <ac:spMkLst>
            <pc:docMk/>
            <pc:sldMk cId="3848639155" sldId="256"/>
            <ac:spMk id="3" creationId="{21349F9F-31B4-41DC-B4DB-C097467B5266}"/>
          </ac:spMkLst>
        </pc:spChg>
      </pc:sldChg>
      <pc:sldChg chg="modSp mod">
        <pc:chgData name="christophe CHUECOS-FONT" userId="7e57acaa-4bc6-4644-8edc-0ecdded28594" providerId="ADAL" clId="{67DE474F-9E2C-4F68-B79B-1B1AA065A498}" dt="2021-04-01T21:09:56.858" v="25" actId="207"/>
        <pc:sldMkLst>
          <pc:docMk/>
          <pc:sldMk cId="251691404" sldId="276"/>
        </pc:sldMkLst>
        <pc:graphicFrameChg chg="modGraphic">
          <ac:chgData name="christophe CHUECOS-FONT" userId="7e57acaa-4bc6-4644-8edc-0ecdded28594" providerId="ADAL" clId="{67DE474F-9E2C-4F68-B79B-1B1AA065A498}" dt="2021-04-01T21:09:56.858" v="25" actId="207"/>
          <ac:graphicFrameMkLst>
            <pc:docMk/>
            <pc:sldMk cId="251691404" sldId="276"/>
            <ac:graphicFrameMk id="3" creationId="{90A39BD7-E179-4570-8079-E6A295B49267}"/>
          </ac:graphicFrameMkLst>
        </pc:graphicFrameChg>
      </pc:sldChg>
      <pc:sldChg chg="del">
        <pc:chgData name="christophe CHUECOS-FONT" userId="7e57acaa-4bc6-4644-8edc-0ecdded28594" providerId="ADAL" clId="{67DE474F-9E2C-4F68-B79B-1B1AA065A498}" dt="2021-04-01T21:10:12.544" v="30" actId="47"/>
        <pc:sldMkLst>
          <pc:docMk/>
          <pc:sldMk cId="1271957293" sldId="338"/>
        </pc:sldMkLst>
      </pc:sldChg>
      <pc:sldChg chg="del">
        <pc:chgData name="christophe CHUECOS-FONT" userId="7e57acaa-4bc6-4644-8edc-0ecdded28594" providerId="ADAL" clId="{67DE474F-9E2C-4F68-B79B-1B1AA065A498}" dt="2021-04-01T21:10:12.882" v="31" actId="47"/>
        <pc:sldMkLst>
          <pc:docMk/>
          <pc:sldMk cId="2720677423" sldId="342"/>
        </pc:sldMkLst>
      </pc:sldChg>
      <pc:sldChg chg="modSp mod">
        <pc:chgData name="christophe CHUECOS-FONT" userId="7e57acaa-4bc6-4644-8edc-0ecdded28594" providerId="ADAL" clId="{67DE474F-9E2C-4F68-B79B-1B1AA065A498}" dt="2021-04-01T21:11:39.678" v="77" actId="20577"/>
        <pc:sldMkLst>
          <pc:docMk/>
          <pc:sldMk cId="199886149" sldId="751"/>
        </pc:sldMkLst>
        <pc:spChg chg="mod">
          <ac:chgData name="christophe CHUECOS-FONT" userId="7e57acaa-4bc6-4644-8edc-0ecdded28594" providerId="ADAL" clId="{67DE474F-9E2C-4F68-B79B-1B1AA065A498}" dt="2021-04-01T21:11:39.678" v="77" actId="20577"/>
          <ac:spMkLst>
            <pc:docMk/>
            <pc:sldMk cId="199886149" sldId="751"/>
            <ac:spMk id="5" creationId="{DFEA2082-E7DE-4453-8158-54F380B94285}"/>
          </ac:spMkLst>
        </pc:spChg>
      </pc:sldChg>
      <pc:sldChg chg="modSp mod">
        <pc:chgData name="christophe CHUECOS-FONT" userId="7e57acaa-4bc6-4644-8edc-0ecdded28594" providerId="ADAL" clId="{67DE474F-9E2C-4F68-B79B-1B1AA065A498}" dt="2021-04-01T21:22:20.422" v="468" actId="6549"/>
        <pc:sldMkLst>
          <pc:docMk/>
          <pc:sldMk cId="2343994896" sldId="867"/>
        </pc:sldMkLst>
        <pc:spChg chg="mod">
          <ac:chgData name="christophe CHUECOS-FONT" userId="7e57acaa-4bc6-4644-8edc-0ecdded28594" providerId="ADAL" clId="{67DE474F-9E2C-4F68-B79B-1B1AA065A498}" dt="2021-04-01T21:22:20.422" v="468" actId="6549"/>
          <ac:spMkLst>
            <pc:docMk/>
            <pc:sldMk cId="2343994896" sldId="867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67DE474F-9E2C-4F68-B79B-1B1AA065A498}" dt="2021-04-01T21:22:05.070" v="450" actId="255"/>
          <ac:spMkLst>
            <pc:docMk/>
            <pc:sldMk cId="2343994896" sldId="867"/>
            <ac:spMk id="3" creationId="{9FA71A85-160A-4CFF-9241-BA71D421B86B}"/>
          </ac:spMkLst>
        </pc:spChg>
      </pc:sldChg>
      <pc:sldChg chg="addSp delSp modSp mod ord">
        <pc:chgData name="christophe CHUECOS-FONT" userId="7e57acaa-4bc6-4644-8edc-0ecdded28594" providerId="ADAL" clId="{67DE474F-9E2C-4F68-B79B-1B1AA065A498}" dt="2021-04-02T06:10:01.896" v="1928" actId="20577"/>
        <pc:sldMkLst>
          <pc:docMk/>
          <pc:sldMk cId="518596460" sldId="903"/>
        </pc:sldMkLst>
        <pc:spChg chg="mod">
          <ac:chgData name="christophe CHUECOS-FONT" userId="7e57acaa-4bc6-4644-8edc-0ecdded28594" providerId="ADAL" clId="{67DE474F-9E2C-4F68-B79B-1B1AA065A498}" dt="2021-04-02T06:10:01.896" v="1928" actId="20577"/>
          <ac:spMkLst>
            <pc:docMk/>
            <pc:sldMk cId="518596460" sldId="903"/>
            <ac:spMk id="2" creationId="{41644713-AF21-4543-94FE-A96FEBAA2B11}"/>
          </ac:spMkLst>
        </pc:spChg>
        <pc:spChg chg="mod">
          <ac:chgData name="christophe CHUECOS-FONT" userId="7e57acaa-4bc6-4644-8edc-0ecdded28594" providerId="ADAL" clId="{67DE474F-9E2C-4F68-B79B-1B1AA065A498}" dt="2021-04-01T22:06:11.806" v="1823" actId="26606"/>
          <ac:spMkLst>
            <pc:docMk/>
            <pc:sldMk cId="518596460" sldId="903"/>
            <ac:spMk id="3" creationId="{6E6AB3AA-03B3-4E7A-94A3-3EB3E0E9D005}"/>
          </ac:spMkLst>
        </pc:spChg>
        <pc:spChg chg="del">
          <ac:chgData name="christophe CHUECOS-FONT" userId="7e57acaa-4bc6-4644-8edc-0ecdded28594" providerId="ADAL" clId="{67DE474F-9E2C-4F68-B79B-1B1AA065A498}" dt="2021-04-01T22:06:11.806" v="1823" actId="26606"/>
          <ac:spMkLst>
            <pc:docMk/>
            <pc:sldMk cId="518596460" sldId="903"/>
            <ac:spMk id="8" creationId="{1ACA2EA0-FFD3-42EC-9406-B595015ED96E}"/>
          </ac:spMkLst>
        </pc:spChg>
        <pc:spChg chg="del">
          <ac:chgData name="christophe CHUECOS-FONT" userId="7e57acaa-4bc6-4644-8edc-0ecdded28594" providerId="ADAL" clId="{67DE474F-9E2C-4F68-B79B-1B1AA065A498}" dt="2021-04-01T22:06:11.806" v="1823" actId="26606"/>
          <ac:spMkLst>
            <pc:docMk/>
            <pc:sldMk cId="518596460" sldId="903"/>
            <ac:spMk id="10" creationId="{D5288BCE-665C-472A-8C43-664BCFA31E43}"/>
          </ac:spMkLst>
        </pc:spChg>
        <pc:spChg chg="del">
          <ac:chgData name="christophe CHUECOS-FONT" userId="7e57acaa-4bc6-4644-8edc-0ecdded28594" providerId="ADAL" clId="{67DE474F-9E2C-4F68-B79B-1B1AA065A498}" dt="2021-04-01T22:06:11.806" v="1823" actId="26606"/>
          <ac:spMkLst>
            <pc:docMk/>
            <pc:sldMk cId="518596460" sldId="903"/>
            <ac:spMk id="12" creationId="{46C57131-53A7-4C1A-BEA8-25F06A06AD29}"/>
          </ac:spMkLst>
        </pc:spChg>
        <pc:spChg chg="add">
          <ac:chgData name="christophe CHUECOS-FONT" userId="7e57acaa-4bc6-4644-8edc-0ecdded28594" providerId="ADAL" clId="{67DE474F-9E2C-4F68-B79B-1B1AA065A498}" dt="2021-04-01T22:06:11.806" v="1823" actId="26606"/>
          <ac:spMkLst>
            <pc:docMk/>
            <pc:sldMk cId="518596460" sldId="903"/>
            <ac:spMk id="17" creationId="{081EA652-8C6A-4E69-BEB9-170809474553}"/>
          </ac:spMkLst>
        </pc:spChg>
        <pc:spChg chg="add">
          <ac:chgData name="christophe CHUECOS-FONT" userId="7e57acaa-4bc6-4644-8edc-0ecdded28594" providerId="ADAL" clId="{67DE474F-9E2C-4F68-B79B-1B1AA065A498}" dt="2021-04-01T22:06:11.806" v="1823" actId="26606"/>
          <ac:spMkLst>
            <pc:docMk/>
            <pc:sldMk cId="518596460" sldId="903"/>
            <ac:spMk id="19" creationId="{5298780A-33B9-4EA2-8F67-DE68AD62841B}"/>
          </ac:spMkLst>
        </pc:spChg>
        <pc:spChg chg="add">
          <ac:chgData name="christophe CHUECOS-FONT" userId="7e57acaa-4bc6-4644-8edc-0ecdded28594" providerId="ADAL" clId="{67DE474F-9E2C-4F68-B79B-1B1AA065A498}" dt="2021-04-01T22:06:11.806" v="1823" actId="26606"/>
          <ac:spMkLst>
            <pc:docMk/>
            <pc:sldMk cId="518596460" sldId="903"/>
            <ac:spMk id="21" creationId="{7F488E8B-4E1E-4402-8935-D4E6C02615C7}"/>
          </ac:spMkLst>
        </pc:spChg>
      </pc:sldChg>
      <pc:sldChg chg="modSp mod">
        <pc:chgData name="christophe CHUECOS-FONT" userId="7e57acaa-4bc6-4644-8edc-0ecdded28594" providerId="ADAL" clId="{67DE474F-9E2C-4F68-B79B-1B1AA065A498}" dt="2021-04-02T14:31:52.164" v="2736" actId="20577"/>
        <pc:sldMkLst>
          <pc:docMk/>
          <pc:sldMk cId="2856685236" sldId="904"/>
        </pc:sldMkLst>
        <pc:spChg chg="mod">
          <ac:chgData name="christophe CHUECOS-FONT" userId="7e57acaa-4bc6-4644-8edc-0ecdded28594" providerId="ADAL" clId="{67DE474F-9E2C-4F68-B79B-1B1AA065A498}" dt="2021-04-02T14:31:52.164" v="2736" actId="20577"/>
          <ac:spMkLst>
            <pc:docMk/>
            <pc:sldMk cId="2856685236" sldId="904"/>
            <ac:spMk id="5" creationId="{DFEA2082-E7DE-4453-8158-54F380B94285}"/>
          </ac:spMkLst>
        </pc:spChg>
      </pc:sldChg>
      <pc:sldChg chg="del">
        <pc:chgData name="christophe CHUECOS-FONT" userId="7e57acaa-4bc6-4644-8edc-0ecdded28594" providerId="ADAL" clId="{67DE474F-9E2C-4F68-B79B-1B1AA065A498}" dt="2021-04-01T21:10:11.807" v="29" actId="47"/>
        <pc:sldMkLst>
          <pc:docMk/>
          <pc:sldMk cId="963568808" sldId="905"/>
        </pc:sldMkLst>
      </pc:sldChg>
      <pc:sldChg chg="addSp delSp modSp mod">
        <pc:chgData name="christophe CHUECOS-FONT" userId="7e57acaa-4bc6-4644-8edc-0ecdded28594" providerId="ADAL" clId="{67DE474F-9E2C-4F68-B79B-1B1AA065A498}" dt="2021-04-01T21:20:58.045" v="370" actId="26606"/>
        <pc:sldMkLst>
          <pc:docMk/>
          <pc:sldMk cId="2413877595" sldId="906"/>
        </pc:sldMkLst>
        <pc:spChg chg="mod">
          <ac:chgData name="christophe CHUECOS-FONT" userId="7e57acaa-4bc6-4644-8edc-0ecdded28594" providerId="ADAL" clId="{67DE474F-9E2C-4F68-B79B-1B1AA065A498}" dt="2021-04-01T21:20:58.045" v="370" actId="26606"/>
          <ac:spMkLst>
            <pc:docMk/>
            <pc:sldMk cId="2413877595" sldId="906"/>
            <ac:spMk id="2" creationId="{AEFCB68E-E041-4E46-A233-3C2208DA32CB}"/>
          </ac:spMkLst>
        </pc:spChg>
        <pc:spChg chg="del mod">
          <ac:chgData name="christophe CHUECOS-FONT" userId="7e57acaa-4bc6-4644-8edc-0ecdded28594" providerId="ADAL" clId="{67DE474F-9E2C-4F68-B79B-1B1AA065A498}" dt="2021-04-01T21:20:58.045" v="370" actId="26606"/>
          <ac:spMkLst>
            <pc:docMk/>
            <pc:sldMk cId="2413877595" sldId="906"/>
            <ac:spMk id="3" creationId="{9FA71A85-160A-4CFF-9241-BA71D421B86B}"/>
          </ac:spMkLst>
        </pc:spChg>
        <pc:spChg chg="del">
          <ac:chgData name="christophe CHUECOS-FONT" userId="7e57acaa-4bc6-4644-8edc-0ecdded28594" providerId="ADAL" clId="{67DE474F-9E2C-4F68-B79B-1B1AA065A498}" dt="2021-04-01T21:20:58.045" v="370" actId="26606"/>
          <ac:spMkLst>
            <pc:docMk/>
            <pc:sldMk cId="2413877595" sldId="906"/>
            <ac:spMk id="17" creationId="{100EDD19-6802-4EC3-95CE-CFFAB042CFD6}"/>
          </ac:spMkLst>
        </pc:spChg>
        <pc:spChg chg="del">
          <ac:chgData name="christophe CHUECOS-FONT" userId="7e57acaa-4bc6-4644-8edc-0ecdded28594" providerId="ADAL" clId="{67DE474F-9E2C-4F68-B79B-1B1AA065A498}" dt="2021-04-01T21:20:58.045" v="370" actId="26606"/>
          <ac:spMkLst>
            <pc:docMk/>
            <pc:sldMk cId="2413877595" sldId="906"/>
            <ac:spMk id="19" creationId="{DB17E863-922E-4C26-BD64-E8FD41D28661}"/>
          </ac:spMkLst>
        </pc:spChg>
        <pc:spChg chg="add">
          <ac:chgData name="christophe CHUECOS-FONT" userId="7e57acaa-4bc6-4644-8edc-0ecdded28594" providerId="ADAL" clId="{67DE474F-9E2C-4F68-B79B-1B1AA065A498}" dt="2021-04-01T21:20:58.045" v="370" actId="26606"/>
          <ac:spMkLst>
            <pc:docMk/>
            <pc:sldMk cId="2413877595" sldId="906"/>
            <ac:spMk id="25" creationId="{70DFC902-7D23-471A-B557-B6B6917D7A0D}"/>
          </ac:spMkLst>
        </pc:spChg>
        <pc:spChg chg="add">
          <ac:chgData name="christophe CHUECOS-FONT" userId="7e57acaa-4bc6-4644-8edc-0ecdded28594" providerId="ADAL" clId="{67DE474F-9E2C-4F68-B79B-1B1AA065A498}" dt="2021-04-01T21:20:58.045" v="370" actId="26606"/>
          <ac:spMkLst>
            <pc:docMk/>
            <pc:sldMk cId="2413877595" sldId="906"/>
            <ac:spMk id="27" creationId="{A55D5633-D557-4DCA-982C-FF36EB7A1C00}"/>
          </ac:spMkLst>
        </pc:spChg>
        <pc:graphicFrameChg chg="add">
          <ac:chgData name="christophe CHUECOS-FONT" userId="7e57acaa-4bc6-4644-8edc-0ecdded28594" providerId="ADAL" clId="{67DE474F-9E2C-4F68-B79B-1B1AA065A498}" dt="2021-04-01T21:20:58.045" v="370" actId="26606"/>
          <ac:graphicFrameMkLst>
            <pc:docMk/>
            <pc:sldMk cId="2413877595" sldId="906"/>
            <ac:graphicFrameMk id="21" creationId="{EA8B118F-B79E-4FD3-A0D6-C6DB5E057FC4}"/>
          </ac:graphicFrameMkLst>
        </pc:graphicFrameChg>
      </pc:sldChg>
      <pc:sldChg chg="del">
        <pc:chgData name="christophe CHUECOS-FONT" userId="7e57acaa-4bc6-4644-8edc-0ecdded28594" providerId="ADAL" clId="{67DE474F-9E2C-4F68-B79B-1B1AA065A498}" dt="2021-04-01T21:10:41.678" v="47" actId="47"/>
        <pc:sldMkLst>
          <pc:docMk/>
          <pc:sldMk cId="3810924798" sldId="908"/>
        </pc:sldMkLst>
      </pc:sldChg>
      <pc:sldChg chg="del">
        <pc:chgData name="christophe CHUECOS-FONT" userId="7e57acaa-4bc6-4644-8edc-0ecdded28594" providerId="ADAL" clId="{67DE474F-9E2C-4F68-B79B-1B1AA065A498}" dt="2021-04-02T14:18:00.135" v="2721" actId="47"/>
        <pc:sldMkLst>
          <pc:docMk/>
          <pc:sldMk cId="1480198139" sldId="909"/>
        </pc:sldMkLst>
      </pc:sldChg>
      <pc:sldChg chg="del">
        <pc:chgData name="christophe CHUECOS-FONT" userId="7e57acaa-4bc6-4644-8edc-0ecdded28594" providerId="ADAL" clId="{67DE474F-9E2C-4F68-B79B-1B1AA065A498}" dt="2021-04-01T21:10:44.727" v="48" actId="47"/>
        <pc:sldMkLst>
          <pc:docMk/>
          <pc:sldMk cId="4043781952" sldId="910"/>
        </pc:sldMkLst>
      </pc:sldChg>
      <pc:sldChg chg="del">
        <pc:chgData name="christophe CHUECOS-FONT" userId="7e57acaa-4bc6-4644-8edc-0ecdded28594" providerId="ADAL" clId="{67DE474F-9E2C-4F68-B79B-1B1AA065A498}" dt="2021-04-01T21:10:16.179" v="32" actId="47"/>
        <pc:sldMkLst>
          <pc:docMk/>
          <pc:sldMk cId="3315866881" sldId="911"/>
        </pc:sldMkLst>
      </pc:sldChg>
      <pc:sldChg chg="del">
        <pc:chgData name="christophe CHUECOS-FONT" userId="7e57acaa-4bc6-4644-8edc-0ecdded28594" providerId="ADAL" clId="{67DE474F-9E2C-4F68-B79B-1B1AA065A498}" dt="2021-04-01T21:10:24.529" v="36" actId="47"/>
        <pc:sldMkLst>
          <pc:docMk/>
          <pc:sldMk cId="1509860493" sldId="912"/>
        </pc:sldMkLst>
      </pc:sldChg>
      <pc:sldChg chg="del">
        <pc:chgData name="christophe CHUECOS-FONT" userId="7e57acaa-4bc6-4644-8edc-0ecdded28594" providerId="ADAL" clId="{67DE474F-9E2C-4F68-B79B-1B1AA065A498}" dt="2021-04-01T21:10:08.509" v="26" actId="47"/>
        <pc:sldMkLst>
          <pc:docMk/>
          <pc:sldMk cId="959441881" sldId="913"/>
        </pc:sldMkLst>
      </pc:sldChg>
      <pc:sldChg chg="del">
        <pc:chgData name="christophe CHUECOS-FONT" userId="7e57acaa-4bc6-4644-8edc-0ecdded28594" providerId="ADAL" clId="{67DE474F-9E2C-4F68-B79B-1B1AA065A498}" dt="2021-04-01T21:10:09.121" v="27" actId="47"/>
        <pc:sldMkLst>
          <pc:docMk/>
          <pc:sldMk cId="3118954032" sldId="914"/>
        </pc:sldMkLst>
      </pc:sldChg>
      <pc:sldChg chg="del">
        <pc:chgData name="christophe CHUECOS-FONT" userId="7e57acaa-4bc6-4644-8edc-0ecdded28594" providerId="ADAL" clId="{67DE474F-9E2C-4F68-B79B-1B1AA065A498}" dt="2021-04-01T21:10:10.399" v="28" actId="47"/>
        <pc:sldMkLst>
          <pc:docMk/>
          <pc:sldMk cId="3283168960" sldId="915"/>
        </pc:sldMkLst>
      </pc:sldChg>
      <pc:sldChg chg="del">
        <pc:chgData name="christophe CHUECOS-FONT" userId="7e57acaa-4bc6-4644-8edc-0ecdded28594" providerId="ADAL" clId="{67DE474F-9E2C-4F68-B79B-1B1AA065A498}" dt="2021-04-01T21:10:22.213" v="33" actId="47"/>
        <pc:sldMkLst>
          <pc:docMk/>
          <pc:sldMk cId="615629420" sldId="916"/>
        </pc:sldMkLst>
      </pc:sldChg>
      <pc:sldChg chg="del">
        <pc:chgData name="christophe CHUECOS-FONT" userId="7e57acaa-4bc6-4644-8edc-0ecdded28594" providerId="ADAL" clId="{67DE474F-9E2C-4F68-B79B-1B1AA065A498}" dt="2021-04-01T21:10:22.595" v="34" actId="47"/>
        <pc:sldMkLst>
          <pc:docMk/>
          <pc:sldMk cId="2574895675" sldId="917"/>
        </pc:sldMkLst>
      </pc:sldChg>
      <pc:sldChg chg="del">
        <pc:chgData name="christophe CHUECOS-FONT" userId="7e57acaa-4bc6-4644-8edc-0ecdded28594" providerId="ADAL" clId="{67DE474F-9E2C-4F68-B79B-1B1AA065A498}" dt="2021-04-01T21:10:23.048" v="35" actId="47"/>
        <pc:sldMkLst>
          <pc:docMk/>
          <pc:sldMk cId="3194066504" sldId="918"/>
        </pc:sldMkLst>
      </pc:sldChg>
      <pc:sldChg chg="del">
        <pc:chgData name="christophe CHUECOS-FONT" userId="7e57acaa-4bc6-4644-8edc-0ecdded28594" providerId="ADAL" clId="{67DE474F-9E2C-4F68-B79B-1B1AA065A498}" dt="2021-04-01T21:10:24.978" v="37" actId="47"/>
        <pc:sldMkLst>
          <pc:docMk/>
          <pc:sldMk cId="2190585729" sldId="919"/>
        </pc:sldMkLst>
      </pc:sldChg>
      <pc:sldChg chg="del">
        <pc:chgData name="christophe CHUECOS-FONT" userId="7e57acaa-4bc6-4644-8edc-0ecdded28594" providerId="ADAL" clId="{67DE474F-9E2C-4F68-B79B-1B1AA065A498}" dt="2021-04-01T21:10:25.362" v="38" actId="47"/>
        <pc:sldMkLst>
          <pc:docMk/>
          <pc:sldMk cId="104529388" sldId="920"/>
        </pc:sldMkLst>
      </pc:sldChg>
      <pc:sldChg chg="del">
        <pc:chgData name="christophe CHUECOS-FONT" userId="7e57acaa-4bc6-4644-8edc-0ecdded28594" providerId="ADAL" clId="{67DE474F-9E2C-4F68-B79B-1B1AA065A498}" dt="2021-04-01T21:10:25.780" v="39" actId="47"/>
        <pc:sldMkLst>
          <pc:docMk/>
          <pc:sldMk cId="1524639244" sldId="921"/>
        </pc:sldMkLst>
      </pc:sldChg>
      <pc:sldChg chg="del">
        <pc:chgData name="christophe CHUECOS-FONT" userId="7e57acaa-4bc6-4644-8edc-0ecdded28594" providerId="ADAL" clId="{67DE474F-9E2C-4F68-B79B-1B1AA065A498}" dt="2021-04-02T14:17:58.273" v="2720" actId="47"/>
        <pc:sldMkLst>
          <pc:docMk/>
          <pc:sldMk cId="1716390056" sldId="922"/>
        </pc:sldMkLst>
      </pc:sldChg>
      <pc:sldChg chg="del">
        <pc:chgData name="christophe CHUECOS-FONT" userId="7e57acaa-4bc6-4644-8edc-0ecdded28594" providerId="ADAL" clId="{67DE474F-9E2C-4F68-B79B-1B1AA065A498}" dt="2021-04-01T21:10:26.363" v="40" actId="47"/>
        <pc:sldMkLst>
          <pc:docMk/>
          <pc:sldMk cId="1401124455" sldId="923"/>
        </pc:sldMkLst>
      </pc:sldChg>
      <pc:sldChg chg="del">
        <pc:chgData name="christophe CHUECOS-FONT" userId="7e57acaa-4bc6-4644-8edc-0ecdded28594" providerId="ADAL" clId="{67DE474F-9E2C-4F68-B79B-1B1AA065A498}" dt="2021-04-01T21:10:45.212" v="49" actId="47"/>
        <pc:sldMkLst>
          <pc:docMk/>
          <pc:sldMk cId="3048182326" sldId="924"/>
        </pc:sldMkLst>
      </pc:sldChg>
      <pc:sldChg chg="del">
        <pc:chgData name="christophe CHUECOS-FONT" userId="7e57acaa-4bc6-4644-8edc-0ecdded28594" providerId="ADAL" clId="{67DE474F-9E2C-4F68-B79B-1B1AA065A498}" dt="2021-04-01T21:10:47.678" v="50" actId="47"/>
        <pc:sldMkLst>
          <pc:docMk/>
          <pc:sldMk cId="365847107" sldId="925"/>
        </pc:sldMkLst>
      </pc:sldChg>
      <pc:sldChg chg="del">
        <pc:chgData name="christophe CHUECOS-FONT" userId="7e57acaa-4bc6-4644-8edc-0ecdded28594" providerId="ADAL" clId="{67DE474F-9E2C-4F68-B79B-1B1AA065A498}" dt="2021-04-01T21:10:48.582" v="51" actId="47"/>
        <pc:sldMkLst>
          <pc:docMk/>
          <pc:sldMk cId="4193262036" sldId="926"/>
        </pc:sldMkLst>
      </pc:sldChg>
      <pc:sldChg chg="del">
        <pc:chgData name="christophe CHUECOS-FONT" userId="7e57acaa-4bc6-4644-8edc-0ecdded28594" providerId="ADAL" clId="{67DE474F-9E2C-4F68-B79B-1B1AA065A498}" dt="2021-04-01T21:10:51.422" v="52" actId="47"/>
        <pc:sldMkLst>
          <pc:docMk/>
          <pc:sldMk cId="792487541" sldId="927"/>
        </pc:sldMkLst>
      </pc:sldChg>
      <pc:sldChg chg="ord">
        <pc:chgData name="christophe CHUECOS-FONT" userId="7e57acaa-4bc6-4644-8edc-0ecdded28594" providerId="ADAL" clId="{67DE474F-9E2C-4F68-B79B-1B1AA065A498}" dt="2021-04-01T21:11:21.710" v="54"/>
        <pc:sldMkLst>
          <pc:docMk/>
          <pc:sldMk cId="1603699342" sldId="928"/>
        </pc:sldMkLst>
      </pc:sldChg>
      <pc:sldChg chg="ord">
        <pc:chgData name="christophe CHUECOS-FONT" userId="7e57acaa-4bc6-4644-8edc-0ecdded28594" providerId="ADAL" clId="{67DE474F-9E2C-4F68-B79B-1B1AA065A498}" dt="2021-04-01T21:11:21.710" v="54"/>
        <pc:sldMkLst>
          <pc:docMk/>
          <pc:sldMk cId="838034858" sldId="929"/>
        </pc:sldMkLst>
      </pc:sldChg>
      <pc:sldChg chg="ord">
        <pc:chgData name="christophe CHUECOS-FONT" userId="7e57acaa-4bc6-4644-8edc-0ecdded28594" providerId="ADAL" clId="{67DE474F-9E2C-4F68-B79B-1B1AA065A498}" dt="2021-04-01T21:11:21.710" v="54"/>
        <pc:sldMkLst>
          <pc:docMk/>
          <pc:sldMk cId="2778287842" sldId="930"/>
        </pc:sldMkLst>
      </pc:sldChg>
      <pc:sldChg chg="ord">
        <pc:chgData name="christophe CHUECOS-FONT" userId="7e57acaa-4bc6-4644-8edc-0ecdded28594" providerId="ADAL" clId="{67DE474F-9E2C-4F68-B79B-1B1AA065A498}" dt="2021-04-01T21:11:21.710" v="54"/>
        <pc:sldMkLst>
          <pc:docMk/>
          <pc:sldMk cId="3403650375" sldId="931"/>
        </pc:sldMkLst>
      </pc:sldChg>
      <pc:sldChg chg="ord">
        <pc:chgData name="christophe CHUECOS-FONT" userId="7e57acaa-4bc6-4644-8edc-0ecdded28594" providerId="ADAL" clId="{67DE474F-9E2C-4F68-B79B-1B1AA065A498}" dt="2021-04-01T21:11:21.710" v="54"/>
        <pc:sldMkLst>
          <pc:docMk/>
          <pc:sldMk cId="908281077" sldId="932"/>
        </pc:sldMkLst>
      </pc:sldChg>
      <pc:sldChg chg="del">
        <pc:chgData name="christophe CHUECOS-FONT" userId="7e57acaa-4bc6-4644-8edc-0ecdded28594" providerId="ADAL" clId="{67DE474F-9E2C-4F68-B79B-1B1AA065A498}" dt="2021-04-01T21:10:27.379" v="41" actId="47"/>
        <pc:sldMkLst>
          <pc:docMk/>
          <pc:sldMk cId="388731633" sldId="933"/>
        </pc:sldMkLst>
      </pc:sldChg>
      <pc:sldChg chg="modSp add mod">
        <pc:chgData name="christophe CHUECOS-FONT" userId="7e57acaa-4bc6-4644-8edc-0ecdded28594" providerId="ADAL" clId="{67DE474F-9E2C-4F68-B79B-1B1AA065A498}" dt="2021-04-01T21:32:50.891" v="806" actId="13926"/>
        <pc:sldMkLst>
          <pc:docMk/>
          <pc:sldMk cId="2169269237" sldId="933"/>
        </pc:sldMkLst>
        <pc:spChg chg="mod">
          <ac:chgData name="christophe CHUECOS-FONT" userId="7e57acaa-4bc6-4644-8edc-0ecdded28594" providerId="ADAL" clId="{67DE474F-9E2C-4F68-B79B-1B1AA065A498}" dt="2021-04-01T21:23:08.150" v="491" actId="6549"/>
          <ac:spMkLst>
            <pc:docMk/>
            <pc:sldMk cId="2169269237" sldId="933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67DE474F-9E2C-4F68-B79B-1B1AA065A498}" dt="2021-04-01T21:32:50.891" v="806" actId="13926"/>
          <ac:spMkLst>
            <pc:docMk/>
            <pc:sldMk cId="2169269237" sldId="933"/>
            <ac:spMk id="3" creationId="{9FA71A85-160A-4CFF-9241-BA71D421B86B}"/>
          </ac:spMkLst>
        </pc:spChg>
      </pc:sldChg>
      <pc:sldChg chg="modSp add mod">
        <pc:chgData name="christophe CHUECOS-FONT" userId="7e57acaa-4bc6-4644-8edc-0ecdded28594" providerId="ADAL" clId="{67DE474F-9E2C-4F68-B79B-1B1AA065A498}" dt="2021-04-01T21:33:02.470" v="807" actId="13926"/>
        <pc:sldMkLst>
          <pc:docMk/>
          <pc:sldMk cId="1450746386" sldId="934"/>
        </pc:sldMkLst>
        <pc:spChg chg="mod">
          <ac:chgData name="christophe CHUECOS-FONT" userId="7e57acaa-4bc6-4644-8edc-0ecdded28594" providerId="ADAL" clId="{67DE474F-9E2C-4F68-B79B-1B1AA065A498}" dt="2021-04-01T21:33:02.470" v="807" actId="13926"/>
          <ac:spMkLst>
            <pc:docMk/>
            <pc:sldMk cId="1450746386" sldId="934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67DE474F-9E2C-4F68-B79B-1B1AA065A498}" dt="2021-04-01T21:26:28.698" v="624" actId="255"/>
          <ac:spMkLst>
            <pc:docMk/>
            <pc:sldMk cId="1450746386" sldId="934"/>
            <ac:spMk id="3" creationId="{9FA71A85-160A-4CFF-9241-BA71D421B86B}"/>
          </ac:spMkLst>
        </pc:spChg>
      </pc:sldChg>
      <pc:sldChg chg="del">
        <pc:chgData name="christophe CHUECOS-FONT" userId="7e57acaa-4bc6-4644-8edc-0ecdded28594" providerId="ADAL" clId="{67DE474F-9E2C-4F68-B79B-1B1AA065A498}" dt="2021-04-01T21:10:28.213" v="42" actId="47"/>
        <pc:sldMkLst>
          <pc:docMk/>
          <pc:sldMk cId="1994598111" sldId="934"/>
        </pc:sldMkLst>
      </pc:sldChg>
      <pc:sldChg chg="modSp add mod">
        <pc:chgData name="christophe CHUECOS-FONT" userId="7e57acaa-4bc6-4644-8edc-0ecdded28594" providerId="ADAL" clId="{67DE474F-9E2C-4F68-B79B-1B1AA065A498}" dt="2021-04-01T21:33:08.800" v="808" actId="13926"/>
        <pc:sldMkLst>
          <pc:docMk/>
          <pc:sldMk cId="2411080194" sldId="935"/>
        </pc:sldMkLst>
        <pc:spChg chg="mod">
          <ac:chgData name="christophe CHUECOS-FONT" userId="7e57acaa-4bc6-4644-8edc-0ecdded28594" providerId="ADAL" clId="{67DE474F-9E2C-4F68-B79B-1B1AA065A498}" dt="2021-04-01T21:33:08.800" v="808" actId="13926"/>
          <ac:spMkLst>
            <pc:docMk/>
            <pc:sldMk cId="2411080194" sldId="935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67DE474F-9E2C-4F68-B79B-1B1AA065A498}" dt="2021-04-01T21:30:13.192" v="761" actId="255"/>
          <ac:spMkLst>
            <pc:docMk/>
            <pc:sldMk cId="2411080194" sldId="935"/>
            <ac:spMk id="3" creationId="{9FA71A85-160A-4CFF-9241-BA71D421B86B}"/>
          </ac:spMkLst>
        </pc:spChg>
      </pc:sldChg>
      <pc:sldChg chg="del">
        <pc:chgData name="christophe CHUECOS-FONT" userId="7e57acaa-4bc6-4644-8edc-0ecdded28594" providerId="ADAL" clId="{67DE474F-9E2C-4F68-B79B-1B1AA065A498}" dt="2021-04-01T21:10:28.913" v="43" actId="47"/>
        <pc:sldMkLst>
          <pc:docMk/>
          <pc:sldMk cId="3995244737" sldId="935"/>
        </pc:sldMkLst>
      </pc:sldChg>
      <pc:sldChg chg="modSp add mod">
        <pc:chgData name="christophe CHUECOS-FONT" userId="7e57acaa-4bc6-4644-8edc-0ecdded28594" providerId="ADAL" clId="{67DE474F-9E2C-4F68-B79B-1B1AA065A498}" dt="2021-04-01T21:33:14.864" v="809" actId="13926"/>
        <pc:sldMkLst>
          <pc:docMk/>
          <pc:sldMk cId="1723624915" sldId="936"/>
        </pc:sldMkLst>
        <pc:spChg chg="mod">
          <ac:chgData name="christophe CHUECOS-FONT" userId="7e57acaa-4bc6-4644-8edc-0ecdded28594" providerId="ADAL" clId="{67DE474F-9E2C-4F68-B79B-1B1AA065A498}" dt="2021-04-01T21:33:14.864" v="809" actId="13926"/>
          <ac:spMkLst>
            <pc:docMk/>
            <pc:sldMk cId="1723624915" sldId="936"/>
            <ac:spMk id="2" creationId="{AEFCB68E-E041-4E46-A233-3C2208DA32CB}"/>
          </ac:spMkLst>
        </pc:spChg>
        <pc:spChg chg="mod">
          <ac:chgData name="christophe CHUECOS-FONT" userId="7e57acaa-4bc6-4644-8edc-0ecdded28594" providerId="ADAL" clId="{67DE474F-9E2C-4F68-B79B-1B1AA065A498}" dt="2021-04-01T21:32:40.298" v="805" actId="27636"/>
          <ac:spMkLst>
            <pc:docMk/>
            <pc:sldMk cId="1723624915" sldId="936"/>
            <ac:spMk id="3" creationId="{9FA71A85-160A-4CFF-9241-BA71D421B86B}"/>
          </ac:spMkLst>
        </pc:spChg>
      </pc:sldChg>
      <pc:sldChg chg="del">
        <pc:chgData name="christophe CHUECOS-FONT" userId="7e57acaa-4bc6-4644-8edc-0ecdded28594" providerId="ADAL" clId="{67DE474F-9E2C-4F68-B79B-1B1AA065A498}" dt="2021-04-01T21:10:31.352" v="44" actId="47"/>
        <pc:sldMkLst>
          <pc:docMk/>
          <pc:sldMk cId="1796677580" sldId="936"/>
        </pc:sldMkLst>
      </pc:sldChg>
      <pc:sldChg chg="addSp delSp modSp new mod setBg">
        <pc:chgData name="christophe CHUECOS-FONT" userId="7e57acaa-4bc6-4644-8edc-0ecdded28594" providerId="ADAL" clId="{67DE474F-9E2C-4F68-B79B-1B1AA065A498}" dt="2021-04-01T21:36:00.259" v="936" actId="26606"/>
        <pc:sldMkLst>
          <pc:docMk/>
          <pc:sldMk cId="1052992918" sldId="937"/>
        </pc:sldMkLst>
        <pc:spChg chg="mod">
          <ac:chgData name="christophe CHUECOS-FONT" userId="7e57acaa-4bc6-4644-8edc-0ecdded28594" providerId="ADAL" clId="{67DE474F-9E2C-4F68-B79B-1B1AA065A498}" dt="2021-04-01T21:36:00.259" v="936" actId="26606"/>
          <ac:spMkLst>
            <pc:docMk/>
            <pc:sldMk cId="1052992918" sldId="937"/>
            <ac:spMk id="2" creationId="{63640490-C0F3-44D9-81D6-1745680AD197}"/>
          </ac:spMkLst>
        </pc:spChg>
        <pc:spChg chg="add del mod">
          <ac:chgData name="christophe CHUECOS-FONT" userId="7e57acaa-4bc6-4644-8edc-0ecdded28594" providerId="ADAL" clId="{67DE474F-9E2C-4F68-B79B-1B1AA065A498}" dt="2021-04-01T21:36:00.259" v="936" actId="26606"/>
          <ac:spMkLst>
            <pc:docMk/>
            <pc:sldMk cId="1052992918" sldId="937"/>
            <ac:spMk id="3" creationId="{2D99691B-C59F-4073-A547-50290F3D38CC}"/>
          </ac:spMkLst>
        </pc:spChg>
        <pc:spChg chg="add">
          <ac:chgData name="christophe CHUECOS-FONT" userId="7e57acaa-4bc6-4644-8edc-0ecdded28594" providerId="ADAL" clId="{67DE474F-9E2C-4F68-B79B-1B1AA065A498}" dt="2021-04-01T21:36:00.259" v="936" actId="26606"/>
          <ac:spMkLst>
            <pc:docMk/>
            <pc:sldMk cId="1052992918" sldId="937"/>
            <ac:spMk id="9" creationId="{6166C6D1-23AC-49C4-BA07-238E4E9F8CEB}"/>
          </ac:spMkLst>
        </pc:spChg>
        <pc:spChg chg="add del">
          <ac:chgData name="christophe CHUECOS-FONT" userId="7e57acaa-4bc6-4644-8edc-0ecdded28594" providerId="ADAL" clId="{67DE474F-9E2C-4F68-B79B-1B1AA065A498}" dt="2021-04-01T21:35:51.493" v="933" actId="26606"/>
          <ac:spMkLst>
            <pc:docMk/>
            <pc:sldMk cId="1052992918" sldId="937"/>
            <ac:spMk id="10" creationId="{86C7B4A1-154A-4DF0-AC46-F88D75A2E0FD}"/>
          </ac:spMkLst>
        </pc:spChg>
        <pc:spChg chg="add">
          <ac:chgData name="christophe CHUECOS-FONT" userId="7e57acaa-4bc6-4644-8edc-0ecdded28594" providerId="ADAL" clId="{67DE474F-9E2C-4F68-B79B-1B1AA065A498}" dt="2021-04-01T21:36:00.259" v="936" actId="26606"/>
          <ac:spMkLst>
            <pc:docMk/>
            <pc:sldMk cId="1052992918" sldId="937"/>
            <ac:spMk id="11" creationId="{B775CD93-9DF2-48CB-9F57-1BCA9A46C7FA}"/>
          </ac:spMkLst>
        </pc:spChg>
        <pc:spChg chg="add">
          <ac:chgData name="christophe CHUECOS-FONT" userId="7e57acaa-4bc6-4644-8edc-0ecdded28594" providerId="ADAL" clId="{67DE474F-9E2C-4F68-B79B-1B1AA065A498}" dt="2021-04-01T21:36:00.259" v="936" actId="26606"/>
          <ac:spMkLst>
            <pc:docMk/>
            <pc:sldMk cId="1052992918" sldId="937"/>
            <ac:spMk id="13" creationId="{E186B68C-84BC-4A6E-99D1-EE87483C1349}"/>
          </ac:spMkLst>
        </pc:spChg>
        <pc:spChg chg="add">
          <ac:chgData name="christophe CHUECOS-FONT" userId="7e57acaa-4bc6-4644-8edc-0ecdded28594" providerId="ADAL" clId="{67DE474F-9E2C-4F68-B79B-1B1AA065A498}" dt="2021-04-01T21:36:00.259" v="936" actId="26606"/>
          <ac:spMkLst>
            <pc:docMk/>
            <pc:sldMk cId="1052992918" sldId="937"/>
            <ac:spMk id="15" creationId="{1C091803-41C2-48E0-9228-5148460C7479}"/>
          </ac:spMkLst>
        </pc:spChg>
        <pc:graphicFrameChg chg="add del">
          <ac:chgData name="christophe CHUECOS-FONT" userId="7e57acaa-4bc6-4644-8edc-0ecdded28594" providerId="ADAL" clId="{67DE474F-9E2C-4F68-B79B-1B1AA065A498}" dt="2021-04-01T21:35:51.493" v="933" actId="26606"/>
          <ac:graphicFrameMkLst>
            <pc:docMk/>
            <pc:sldMk cId="1052992918" sldId="937"/>
            <ac:graphicFrameMk id="5" creationId="{7993830B-A9DD-418B-80B4-7F82093E884D}"/>
          </ac:graphicFrameMkLst>
        </pc:graphicFrameChg>
        <pc:graphicFrameChg chg="add del">
          <ac:chgData name="christophe CHUECOS-FONT" userId="7e57acaa-4bc6-4644-8edc-0ecdded28594" providerId="ADAL" clId="{67DE474F-9E2C-4F68-B79B-1B1AA065A498}" dt="2021-04-01T21:36:00.234" v="935" actId="26606"/>
          <ac:graphicFrameMkLst>
            <pc:docMk/>
            <pc:sldMk cId="1052992918" sldId="937"/>
            <ac:graphicFrameMk id="12" creationId="{3618370D-B6B4-4FF8-A586-C25EF52F9BBC}"/>
          </ac:graphicFrameMkLst>
        </pc:graphicFrameChg>
        <pc:graphicFrameChg chg="add">
          <ac:chgData name="christophe CHUECOS-FONT" userId="7e57acaa-4bc6-4644-8edc-0ecdded28594" providerId="ADAL" clId="{67DE474F-9E2C-4F68-B79B-1B1AA065A498}" dt="2021-04-01T21:36:00.259" v="936" actId="26606"/>
          <ac:graphicFrameMkLst>
            <pc:docMk/>
            <pc:sldMk cId="1052992918" sldId="937"/>
            <ac:graphicFrameMk id="14" creationId="{2BB19B92-6157-48A5-9537-3DD5511B310B}"/>
          </ac:graphicFrameMkLst>
        </pc:graphicFrameChg>
        <pc:picChg chg="add del">
          <ac:chgData name="christophe CHUECOS-FONT" userId="7e57acaa-4bc6-4644-8edc-0ecdded28594" providerId="ADAL" clId="{67DE474F-9E2C-4F68-B79B-1B1AA065A498}" dt="2021-04-01T21:35:51.493" v="933" actId="26606"/>
          <ac:picMkLst>
            <pc:docMk/>
            <pc:sldMk cId="1052992918" sldId="937"/>
            <ac:picMk id="6" creationId="{8C8C10D7-7672-4804-9612-77425C9ED6CD}"/>
          </ac:picMkLst>
        </pc:picChg>
      </pc:sldChg>
      <pc:sldChg chg="del">
        <pc:chgData name="christophe CHUECOS-FONT" userId="7e57acaa-4bc6-4644-8edc-0ecdded28594" providerId="ADAL" clId="{67DE474F-9E2C-4F68-B79B-1B1AA065A498}" dt="2021-04-01T21:10:32.896" v="45" actId="47"/>
        <pc:sldMkLst>
          <pc:docMk/>
          <pc:sldMk cId="3725550176" sldId="937"/>
        </pc:sldMkLst>
      </pc:sldChg>
      <pc:sldChg chg="del">
        <pc:chgData name="christophe CHUECOS-FONT" userId="7e57acaa-4bc6-4644-8edc-0ecdded28594" providerId="ADAL" clId="{67DE474F-9E2C-4F68-B79B-1B1AA065A498}" dt="2021-04-01T21:10:33.182" v="46" actId="47"/>
        <pc:sldMkLst>
          <pc:docMk/>
          <pc:sldMk cId="69180362" sldId="938"/>
        </pc:sldMkLst>
      </pc:sldChg>
      <pc:sldChg chg="addSp modSp new mod setBg">
        <pc:chgData name="christophe CHUECOS-FONT" userId="7e57acaa-4bc6-4644-8edc-0ecdded28594" providerId="ADAL" clId="{67DE474F-9E2C-4F68-B79B-1B1AA065A498}" dt="2021-04-01T21:37:03.430" v="966" actId="26606"/>
        <pc:sldMkLst>
          <pc:docMk/>
          <pc:sldMk cId="705635903" sldId="938"/>
        </pc:sldMkLst>
        <pc:spChg chg="mod">
          <ac:chgData name="christophe CHUECOS-FONT" userId="7e57acaa-4bc6-4644-8edc-0ecdded28594" providerId="ADAL" clId="{67DE474F-9E2C-4F68-B79B-1B1AA065A498}" dt="2021-04-01T21:37:03.430" v="966" actId="26606"/>
          <ac:spMkLst>
            <pc:docMk/>
            <pc:sldMk cId="705635903" sldId="938"/>
            <ac:spMk id="2" creationId="{C44BAECA-A9E7-4228-AF29-CC35BA2FAE2C}"/>
          </ac:spMkLst>
        </pc:spChg>
        <pc:spChg chg="mod">
          <ac:chgData name="christophe CHUECOS-FONT" userId="7e57acaa-4bc6-4644-8edc-0ecdded28594" providerId="ADAL" clId="{67DE474F-9E2C-4F68-B79B-1B1AA065A498}" dt="2021-04-01T21:37:03.430" v="966" actId="26606"/>
          <ac:spMkLst>
            <pc:docMk/>
            <pc:sldMk cId="705635903" sldId="938"/>
            <ac:spMk id="3" creationId="{DADE19F3-635F-4ED7-91EC-7D07BAA72972}"/>
          </ac:spMkLst>
        </pc:spChg>
        <pc:spChg chg="add">
          <ac:chgData name="christophe CHUECOS-FONT" userId="7e57acaa-4bc6-4644-8edc-0ecdded28594" providerId="ADAL" clId="{67DE474F-9E2C-4F68-B79B-1B1AA065A498}" dt="2021-04-01T21:37:03.430" v="966" actId="26606"/>
          <ac:spMkLst>
            <pc:docMk/>
            <pc:sldMk cId="705635903" sldId="938"/>
            <ac:spMk id="8" creationId="{B775CD93-9DF2-48CB-9F57-1BCA9A46C7FA}"/>
          </ac:spMkLst>
        </pc:spChg>
        <pc:spChg chg="add">
          <ac:chgData name="christophe CHUECOS-FONT" userId="7e57acaa-4bc6-4644-8edc-0ecdded28594" providerId="ADAL" clId="{67DE474F-9E2C-4F68-B79B-1B1AA065A498}" dt="2021-04-01T21:37:03.430" v="966" actId="26606"/>
          <ac:spMkLst>
            <pc:docMk/>
            <pc:sldMk cId="705635903" sldId="938"/>
            <ac:spMk id="10" creationId="{6166C6D1-23AC-49C4-BA07-238E4E9F8CEB}"/>
          </ac:spMkLst>
        </pc:spChg>
        <pc:spChg chg="add">
          <ac:chgData name="christophe CHUECOS-FONT" userId="7e57acaa-4bc6-4644-8edc-0ecdded28594" providerId="ADAL" clId="{67DE474F-9E2C-4F68-B79B-1B1AA065A498}" dt="2021-04-01T21:37:03.430" v="966" actId="26606"/>
          <ac:spMkLst>
            <pc:docMk/>
            <pc:sldMk cId="705635903" sldId="938"/>
            <ac:spMk id="12" creationId="{1C091803-41C2-48E0-9228-5148460C7479}"/>
          </ac:spMkLst>
        </pc:spChg>
      </pc:sldChg>
      <pc:sldChg chg="addSp delSp modSp add mod">
        <pc:chgData name="christophe CHUECOS-FONT" userId="7e57acaa-4bc6-4644-8edc-0ecdded28594" providerId="ADAL" clId="{67DE474F-9E2C-4F68-B79B-1B1AA065A498}" dt="2021-04-01T21:39:05.700" v="975" actId="26606"/>
        <pc:sldMkLst>
          <pc:docMk/>
          <pc:sldMk cId="3694353539" sldId="939"/>
        </pc:sldMkLst>
        <pc:spChg chg="mod">
          <ac:chgData name="christophe CHUECOS-FONT" userId="7e57acaa-4bc6-4644-8edc-0ecdded28594" providerId="ADAL" clId="{67DE474F-9E2C-4F68-B79B-1B1AA065A498}" dt="2021-04-01T21:39:05.700" v="975" actId="26606"/>
          <ac:spMkLst>
            <pc:docMk/>
            <pc:sldMk cId="3694353539" sldId="939"/>
            <ac:spMk id="2" creationId="{C44BAECA-A9E7-4228-AF29-CC35BA2FAE2C}"/>
          </ac:spMkLst>
        </pc:spChg>
        <pc:spChg chg="add del mod">
          <ac:chgData name="christophe CHUECOS-FONT" userId="7e57acaa-4bc6-4644-8edc-0ecdded28594" providerId="ADAL" clId="{67DE474F-9E2C-4F68-B79B-1B1AA065A498}" dt="2021-04-01T21:39:05.700" v="975" actId="26606"/>
          <ac:spMkLst>
            <pc:docMk/>
            <pc:sldMk cId="3694353539" sldId="939"/>
            <ac:spMk id="3" creationId="{DADE19F3-635F-4ED7-91EC-7D07BAA72972}"/>
          </ac:spMkLst>
        </pc:spChg>
        <pc:spChg chg="add del">
          <ac:chgData name="christophe CHUECOS-FONT" userId="7e57acaa-4bc6-4644-8edc-0ecdded28594" providerId="ADAL" clId="{67DE474F-9E2C-4F68-B79B-1B1AA065A498}" dt="2021-04-01T21:39:05.700" v="975" actId="26606"/>
          <ac:spMkLst>
            <pc:docMk/>
            <pc:sldMk cId="3694353539" sldId="939"/>
            <ac:spMk id="8" creationId="{B775CD93-9DF2-48CB-9F57-1BCA9A46C7FA}"/>
          </ac:spMkLst>
        </pc:spChg>
        <pc:spChg chg="add del">
          <ac:chgData name="christophe CHUECOS-FONT" userId="7e57acaa-4bc6-4644-8edc-0ecdded28594" providerId="ADAL" clId="{67DE474F-9E2C-4F68-B79B-1B1AA065A498}" dt="2021-04-01T21:39:05.700" v="975" actId="26606"/>
          <ac:spMkLst>
            <pc:docMk/>
            <pc:sldMk cId="3694353539" sldId="939"/>
            <ac:spMk id="10" creationId="{6166C6D1-23AC-49C4-BA07-238E4E9F8CEB}"/>
          </ac:spMkLst>
        </pc:spChg>
        <pc:spChg chg="add del">
          <ac:chgData name="christophe CHUECOS-FONT" userId="7e57acaa-4bc6-4644-8edc-0ecdded28594" providerId="ADAL" clId="{67DE474F-9E2C-4F68-B79B-1B1AA065A498}" dt="2021-04-01T21:39:05.700" v="975" actId="26606"/>
          <ac:spMkLst>
            <pc:docMk/>
            <pc:sldMk cId="3694353539" sldId="939"/>
            <ac:spMk id="12" creationId="{1C091803-41C2-48E0-9228-5148460C7479}"/>
          </ac:spMkLst>
        </pc:spChg>
        <pc:spChg chg="add">
          <ac:chgData name="christophe CHUECOS-FONT" userId="7e57acaa-4bc6-4644-8edc-0ecdded28594" providerId="ADAL" clId="{67DE474F-9E2C-4F68-B79B-1B1AA065A498}" dt="2021-04-01T21:39:05.700" v="975" actId="26606"/>
          <ac:spMkLst>
            <pc:docMk/>
            <pc:sldMk cId="3694353539" sldId="939"/>
            <ac:spMk id="17" creationId="{B775CD93-9DF2-48CB-9F57-1BCA9A46C7FA}"/>
          </ac:spMkLst>
        </pc:spChg>
        <pc:spChg chg="add del">
          <ac:chgData name="christophe CHUECOS-FONT" userId="7e57acaa-4bc6-4644-8edc-0ecdded28594" providerId="ADAL" clId="{67DE474F-9E2C-4F68-B79B-1B1AA065A498}" dt="2021-04-01T21:39:05.676" v="974" actId="26606"/>
          <ac:spMkLst>
            <pc:docMk/>
            <pc:sldMk cId="3694353539" sldId="939"/>
            <ac:spMk id="19" creationId="{86C7B4A1-154A-4DF0-AC46-F88D75A2E0FD}"/>
          </ac:spMkLst>
        </pc:spChg>
        <pc:spChg chg="add">
          <ac:chgData name="christophe CHUECOS-FONT" userId="7e57acaa-4bc6-4644-8edc-0ecdded28594" providerId="ADAL" clId="{67DE474F-9E2C-4F68-B79B-1B1AA065A498}" dt="2021-04-01T21:39:05.700" v="975" actId="26606"/>
          <ac:spMkLst>
            <pc:docMk/>
            <pc:sldMk cId="3694353539" sldId="939"/>
            <ac:spMk id="21" creationId="{E186B68C-84BC-4A6E-99D1-EE87483C1349}"/>
          </ac:spMkLst>
        </pc:spChg>
        <pc:spChg chg="add">
          <ac:chgData name="christophe CHUECOS-FONT" userId="7e57acaa-4bc6-4644-8edc-0ecdded28594" providerId="ADAL" clId="{67DE474F-9E2C-4F68-B79B-1B1AA065A498}" dt="2021-04-01T21:39:05.700" v="975" actId="26606"/>
          <ac:spMkLst>
            <pc:docMk/>
            <pc:sldMk cId="3694353539" sldId="939"/>
            <ac:spMk id="22" creationId="{1C091803-41C2-48E0-9228-5148460C7479}"/>
          </ac:spMkLst>
        </pc:spChg>
        <pc:spChg chg="add">
          <ac:chgData name="christophe CHUECOS-FONT" userId="7e57acaa-4bc6-4644-8edc-0ecdded28594" providerId="ADAL" clId="{67DE474F-9E2C-4F68-B79B-1B1AA065A498}" dt="2021-04-01T21:39:05.700" v="975" actId="26606"/>
          <ac:spMkLst>
            <pc:docMk/>
            <pc:sldMk cId="3694353539" sldId="939"/>
            <ac:spMk id="23" creationId="{6166C6D1-23AC-49C4-BA07-238E4E9F8CEB}"/>
          </ac:spMkLst>
        </pc:spChg>
        <pc:spChg chg="add">
          <ac:chgData name="christophe CHUECOS-FONT" userId="7e57acaa-4bc6-4644-8edc-0ecdded28594" providerId="ADAL" clId="{67DE474F-9E2C-4F68-B79B-1B1AA065A498}" dt="2021-04-01T21:39:05.700" v="975" actId="26606"/>
          <ac:spMkLst>
            <pc:docMk/>
            <pc:sldMk cId="3694353539" sldId="939"/>
            <ac:spMk id="24" creationId="{DADE19F3-635F-4ED7-91EC-7D07BAA72972}"/>
          </ac:spMkLst>
        </pc:spChg>
        <pc:graphicFrameChg chg="add del">
          <ac:chgData name="christophe CHUECOS-FONT" userId="7e57acaa-4bc6-4644-8edc-0ecdded28594" providerId="ADAL" clId="{67DE474F-9E2C-4F68-B79B-1B1AA065A498}" dt="2021-04-01T21:39:05.676" v="974" actId="26606"/>
          <ac:graphicFrameMkLst>
            <pc:docMk/>
            <pc:sldMk cId="3694353539" sldId="939"/>
            <ac:graphicFrameMk id="14" creationId="{C9FFAB8F-03FC-4F5F-A6BE-9E40932CF4B4}"/>
          </ac:graphicFrameMkLst>
        </pc:graphicFrameChg>
        <pc:picChg chg="add del">
          <ac:chgData name="christophe CHUECOS-FONT" userId="7e57acaa-4bc6-4644-8edc-0ecdded28594" providerId="ADAL" clId="{67DE474F-9E2C-4F68-B79B-1B1AA065A498}" dt="2021-04-01T21:39:05.676" v="974" actId="26606"/>
          <ac:picMkLst>
            <pc:docMk/>
            <pc:sldMk cId="3694353539" sldId="939"/>
            <ac:picMk id="15" creationId="{07EF75FC-FBF2-40EC-91C8-B0CE7AE1F6CF}"/>
          </ac:picMkLst>
        </pc:picChg>
      </pc:sldChg>
      <pc:sldChg chg="addSp delSp modSp add mod">
        <pc:chgData name="christophe CHUECOS-FONT" userId="7e57acaa-4bc6-4644-8edc-0ecdded28594" providerId="ADAL" clId="{67DE474F-9E2C-4F68-B79B-1B1AA065A498}" dt="2021-04-01T21:43:09.735" v="1122" actId="20577"/>
        <pc:sldMkLst>
          <pc:docMk/>
          <pc:sldMk cId="2169397702" sldId="940"/>
        </pc:sldMkLst>
        <pc:spChg chg="mod">
          <ac:chgData name="christophe CHUECOS-FONT" userId="7e57acaa-4bc6-4644-8edc-0ecdded28594" providerId="ADAL" clId="{67DE474F-9E2C-4F68-B79B-1B1AA065A498}" dt="2021-04-01T21:42:39.274" v="1073" actId="26606"/>
          <ac:spMkLst>
            <pc:docMk/>
            <pc:sldMk cId="2169397702" sldId="940"/>
            <ac:spMk id="2" creationId="{C44BAECA-A9E7-4228-AF29-CC35BA2FAE2C}"/>
          </ac:spMkLst>
        </pc:spChg>
        <pc:spChg chg="add del">
          <ac:chgData name="christophe CHUECOS-FONT" userId="7e57acaa-4bc6-4644-8edc-0ecdded28594" providerId="ADAL" clId="{67DE474F-9E2C-4F68-B79B-1B1AA065A498}" dt="2021-04-01T21:41:09.855" v="1007"/>
          <ac:spMkLst>
            <pc:docMk/>
            <pc:sldMk cId="2169397702" sldId="940"/>
            <ac:spMk id="3" creationId="{A3C784F3-EF66-4CA0-A3B8-DC416FE24AB3}"/>
          </ac:spMkLst>
        </pc:spChg>
        <pc:spChg chg="add del mod">
          <ac:chgData name="christophe CHUECOS-FONT" userId="7e57acaa-4bc6-4644-8edc-0ecdded28594" providerId="ADAL" clId="{67DE474F-9E2C-4F68-B79B-1B1AA065A498}" dt="2021-04-01T21:41:47.676" v="1010"/>
          <ac:spMkLst>
            <pc:docMk/>
            <pc:sldMk cId="2169397702" sldId="940"/>
            <ac:spMk id="4" creationId="{4E4DEEEE-C70F-4C7D-B3DE-999E97A201B2}"/>
          </ac:spMkLst>
        </pc:spChg>
        <pc:spChg chg="del">
          <ac:chgData name="christophe CHUECOS-FONT" userId="7e57acaa-4bc6-4644-8edc-0ecdded28594" providerId="ADAL" clId="{67DE474F-9E2C-4F68-B79B-1B1AA065A498}" dt="2021-04-01T21:42:39.274" v="1073" actId="26606"/>
          <ac:spMkLst>
            <pc:docMk/>
            <pc:sldMk cId="2169397702" sldId="940"/>
            <ac:spMk id="17" creationId="{B775CD93-9DF2-48CB-9F57-1BCA9A46C7FA}"/>
          </ac:spMkLst>
        </pc:spChg>
        <pc:spChg chg="del">
          <ac:chgData name="christophe CHUECOS-FONT" userId="7e57acaa-4bc6-4644-8edc-0ecdded28594" providerId="ADAL" clId="{67DE474F-9E2C-4F68-B79B-1B1AA065A498}" dt="2021-04-01T21:42:39.274" v="1073" actId="26606"/>
          <ac:spMkLst>
            <pc:docMk/>
            <pc:sldMk cId="2169397702" sldId="940"/>
            <ac:spMk id="21" creationId="{E186B68C-84BC-4A6E-99D1-EE87483C1349}"/>
          </ac:spMkLst>
        </pc:spChg>
        <pc:spChg chg="del">
          <ac:chgData name="christophe CHUECOS-FONT" userId="7e57acaa-4bc6-4644-8edc-0ecdded28594" providerId="ADAL" clId="{67DE474F-9E2C-4F68-B79B-1B1AA065A498}" dt="2021-04-01T21:42:39.274" v="1073" actId="26606"/>
          <ac:spMkLst>
            <pc:docMk/>
            <pc:sldMk cId="2169397702" sldId="940"/>
            <ac:spMk id="22" creationId="{1C091803-41C2-48E0-9228-5148460C7479}"/>
          </ac:spMkLst>
        </pc:spChg>
        <pc:spChg chg="del">
          <ac:chgData name="christophe CHUECOS-FONT" userId="7e57acaa-4bc6-4644-8edc-0ecdded28594" providerId="ADAL" clId="{67DE474F-9E2C-4F68-B79B-1B1AA065A498}" dt="2021-04-01T21:42:39.274" v="1073" actId="26606"/>
          <ac:spMkLst>
            <pc:docMk/>
            <pc:sldMk cId="2169397702" sldId="940"/>
            <ac:spMk id="23" creationId="{6166C6D1-23AC-49C4-BA07-238E4E9F8CEB}"/>
          </ac:spMkLst>
        </pc:spChg>
        <pc:spChg chg="add del mod">
          <ac:chgData name="christophe CHUECOS-FONT" userId="7e57acaa-4bc6-4644-8edc-0ecdded28594" providerId="ADAL" clId="{67DE474F-9E2C-4F68-B79B-1B1AA065A498}" dt="2021-04-01T21:43:09.735" v="1122" actId="20577"/>
          <ac:spMkLst>
            <pc:docMk/>
            <pc:sldMk cId="2169397702" sldId="940"/>
            <ac:spMk id="24" creationId="{DADE19F3-635F-4ED7-91EC-7D07BAA72972}"/>
          </ac:spMkLst>
        </pc:spChg>
        <pc:spChg chg="add">
          <ac:chgData name="christophe CHUECOS-FONT" userId="7e57acaa-4bc6-4644-8edc-0ecdded28594" providerId="ADAL" clId="{67DE474F-9E2C-4F68-B79B-1B1AA065A498}" dt="2021-04-01T21:42:39.274" v="1073" actId="26606"/>
          <ac:spMkLst>
            <pc:docMk/>
            <pc:sldMk cId="2169397702" sldId="940"/>
            <ac:spMk id="29" creationId="{6F5A5072-7B47-4D32-B52A-4EBBF590B8A5}"/>
          </ac:spMkLst>
        </pc:spChg>
        <pc:spChg chg="add">
          <ac:chgData name="christophe CHUECOS-FONT" userId="7e57acaa-4bc6-4644-8edc-0ecdded28594" providerId="ADAL" clId="{67DE474F-9E2C-4F68-B79B-1B1AA065A498}" dt="2021-04-01T21:42:39.274" v="1073" actId="26606"/>
          <ac:spMkLst>
            <pc:docMk/>
            <pc:sldMk cId="2169397702" sldId="940"/>
            <ac:spMk id="31" creationId="{9715DAF0-AE1B-46C9-8A6B-DB2AA05AB91D}"/>
          </ac:spMkLst>
        </pc:spChg>
        <pc:spChg chg="add">
          <ac:chgData name="christophe CHUECOS-FONT" userId="7e57acaa-4bc6-4644-8edc-0ecdded28594" providerId="ADAL" clId="{67DE474F-9E2C-4F68-B79B-1B1AA065A498}" dt="2021-04-01T21:42:39.274" v="1073" actId="26606"/>
          <ac:spMkLst>
            <pc:docMk/>
            <pc:sldMk cId="2169397702" sldId="940"/>
            <ac:spMk id="33" creationId="{6016219D-510E-4184-9090-6D5578A87BD1}"/>
          </ac:spMkLst>
        </pc:spChg>
        <pc:spChg chg="add">
          <ac:chgData name="christophe CHUECOS-FONT" userId="7e57acaa-4bc6-4644-8edc-0ecdded28594" providerId="ADAL" clId="{67DE474F-9E2C-4F68-B79B-1B1AA065A498}" dt="2021-04-01T21:42:39.274" v="1073" actId="26606"/>
          <ac:spMkLst>
            <pc:docMk/>
            <pc:sldMk cId="2169397702" sldId="940"/>
            <ac:spMk id="35" creationId="{AFF4A713-7B75-4B21-90D7-5AB19547C728}"/>
          </ac:spMkLst>
        </pc:spChg>
        <pc:spChg chg="add">
          <ac:chgData name="christophe CHUECOS-FONT" userId="7e57acaa-4bc6-4644-8edc-0ecdded28594" providerId="ADAL" clId="{67DE474F-9E2C-4F68-B79B-1B1AA065A498}" dt="2021-04-01T21:42:39.274" v="1073" actId="26606"/>
          <ac:spMkLst>
            <pc:docMk/>
            <pc:sldMk cId="2169397702" sldId="940"/>
            <ac:spMk id="37" creationId="{DC631C0B-6DA6-4E57-8231-CE32B3434A7E}"/>
          </ac:spMkLst>
        </pc:spChg>
        <pc:spChg chg="add">
          <ac:chgData name="christophe CHUECOS-FONT" userId="7e57acaa-4bc6-4644-8edc-0ecdded28594" providerId="ADAL" clId="{67DE474F-9E2C-4F68-B79B-1B1AA065A498}" dt="2021-04-01T21:42:39.274" v="1073" actId="26606"/>
          <ac:spMkLst>
            <pc:docMk/>
            <pc:sldMk cId="2169397702" sldId="940"/>
            <ac:spMk id="39" creationId="{C29501E6-A978-4A61-9689-9085AF97A53A}"/>
          </ac:spMkLst>
        </pc:spChg>
      </pc:sldChg>
      <pc:sldChg chg="modSp add mod">
        <pc:chgData name="christophe CHUECOS-FONT" userId="7e57acaa-4bc6-4644-8edc-0ecdded28594" providerId="ADAL" clId="{67DE474F-9E2C-4F68-B79B-1B1AA065A498}" dt="2021-04-01T21:43:37.552" v="1150" actId="20577"/>
        <pc:sldMkLst>
          <pc:docMk/>
          <pc:sldMk cId="4161496407" sldId="941"/>
        </pc:sldMkLst>
        <pc:spChg chg="mod">
          <ac:chgData name="christophe CHUECOS-FONT" userId="7e57acaa-4bc6-4644-8edc-0ecdded28594" providerId="ADAL" clId="{67DE474F-9E2C-4F68-B79B-1B1AA065A498}" dt="2021-04-01T21:43:28.920" v="1132" actId="20577"/>
          <ac:spMkLst>
            <pc:docMk/>
            <pc:sldMk cId="4161496407" sldId="941"/>
            <ac:spMk id="2" creationId="{C44BAECA-A9E7-4228-AF29-CC35BA2FAE2C}"/>
          </ac:spMkLst>
        </pc:spChg>
        <pc:spChg chg="mod">
          <ac:chgData name="christophe CHUECOS-FONT" userId="7e57acaa-4bc6-4644-8edc-0ecdded28594" providerId="ADAL" clId="{67DE474F-9E2C-4F68-B79B-1B1AA065A498}" dt="2021-04-01T21:43:37.552" v="1150" actId="20577"/>
          <ac:spMkLst>
            <pc:docMk/>
            <pc:sldMk cId="4161496407" sldId="941"/>
            <ac:spMk id="24" creationId="{DADE19F3-635F-4ED7-91EC-7D07BAA72972}"/>
          </ac:spMkLst>
        </pc:spChg>
      </pc:sldChg>
      <pc:sldChg chg="modSp add mod ord">
        <pc:chgData name="christophe CHUECOS-FONT" userId="7e57acaa-4bc6-4644-8edc-0ecdded28594" providerId="ADAL" clId="{67DE474F-9E2C-4F68-B79B-1B1AA065A498}" dt="2021-04-01T21:44:36.006" v="1172" actId="20577"/>
        <pc:sldMkLst>
          <pc:docMk/>
          <pc:sldMk cId="2395717442" sldId="942"/>
        </pc:sldMkLst>
        <pc:spChg chg="mod">
          <ac:chgData name="christophe CHUECOS-FONT" userId="7e57acaa-4bc6-4644-8edc-0ecdded28594" providerId="ADAL" clId="{67DE474F-9E2C-4F68-B79B-1B1AA065A498}" dt="2021-04-01T21:44:36.006" v="1172" actId="20577"/>
          <ac:spMkLst>
            <pc:docMk/>
            <pc:sldMk cId="2395717442" sldId="942"/>
            <ac:spMk id="5" creationId="{DFEA2082-E7DE-4453-8158-54F380B94285}"/>
          </ac:spMkLst>
        </pc:spChg>
      </pc:sldChg>
      <pc:sldChg chg="addSp delSp modSp new del mod setBg setClrOvrMap">
        <pc:chgData name="christophe CHUECOS-FONT" userId="7e57acaa-4bc6-4644-8edc-0ecdded28594" providerId="ADAL" clId="{67DE474F-9E2C-4F68-B79B-1B1AA065A498}" dt="2021-04-01T21:49:17.680" v="1292" actId="47"/>
        <pc:sldMkLst>
          <pc:docMk/>
          <pc:sldMk cId="131847212" sldId="943"/>
        </pc:sldMkLst>
        <pc:spChg chg="mod">
          <ac:chgData name="christophe CHUECOS-FONT" userId="7e57acaa-4bc6-4644-8edc-0ecdded28594" providerId="ADAL" clId="{67DE474F-9E2C-4F68-B79B-1B1AA065A498}" dt="2021-04-01T21:47:38.230" v="1231"/>
          <ac:spMkLst>
            <pc:docMk/>
            <pc:sldMk cId="131847212" sldId="943"/>
            <ac:spMk id="2" creationId="{9BC3076F-0B25-422C-87D9-4D5F7D02130A}"/>
          </ac:spMkLst>
        </pc:spChg>
        <pc:spChg chg="del">
          <ac:chgData name="christophe CHUECOS-FONT" userId="7e57acaa-4bc6-4644-8edc-0ecdded28594" providerId="ADAL" clId="{67DE474F-9E2C-4F68-B79B-1B1AA065A498}" dt="2021-04-01T21:46:15.104" v="1218" actId="26606"/>
          <ac:spMkLst>
            <pc:docMk/>
            <pc:sldMk cId="131847212" sldId="943"/>
            <ac:spMk id="3" creationId="{2A548B20-01F5-4174-9B6B-5A7A83DC6FCF}"/>
          </ac:spMkLst>
        </pc:spChg>
        <pc:spChg chg="add del">
          <ac:chgData name="christophe CHUECOS-FONT" userId="7e57acaa-4bc6-4644-8edc-0ecdded28594" providerId="ADAL" clId="{67DE474F-9E2C-4F68-B79B-1B1AA065A498}" dt="2021-04-01T21:46:45.170" v="1222" actId="26606"/>
          <ac:spMkLst>
            <pc:docMk/>
            <pc:sldMk cId="131847212" sldId="943"/>
            <ac:spMk id="9" creationId="{C1DD1A8A-57D5-4A81-AD04-532B043C5611}"/>
          </ac:spMkLst>
        </pc:spChg>
        <pc:spChg chg="add del">
          <ac:chgData name="christophe CHUECOS-FONT" userId="7e57acaa-4bc6-4644-8edc-0ecdded28594" providerId="ADAL" clId="{67DE474F-9E2C-4F68-B79B-1B1AA065A498}" dt="2021-04-01T21:46:45.170" v="1222" actId="26606"/>
          <ac:spMkLst>
            <pc:docMk/>
            <pc:sldMk cId="131847212" sldId="943"/>
            <ac:spMk id="11" creationId="{007891EC-4501-44ED-A8C8-B11B6DB767AB}"/>
          </ac:spMkLst>
        </pc:spChg>
        <pc:picChg chg="add mod">
          <ac:chgData name="christophe CHUECOS-FONT" userId="7e57acaa-4bc6-4644-8edc-0ecdded28594" providerId="ADAL" clId="{67DE474F-9E2C-4F68-B79B-1B1AA065A498}" dt="2021-04-01T21:46:45.170" v="1222" actId="26606"/>
          <ac:picMkLst>
            <pc:docMk/>
            <pc:sldMk cId="131847212" sldId="943"/>
            <ac:picMk id="5" creationId="{71304045-47C1-47F2-A512-6699A4BC5BFA}"/>
          </ac:picMkLst>
        </pc:picChg>
      </pc:sldChg>
      <pc:sldChg chg="addSp delSp modSp new mod setBg">
        <pc:chgData name="christophe CHUECOS-FONT" userId="7e57acaa-4bc6-4644-8edc-0ecdded28594" providerId="ADAL" clId="{67DE474F-9E2C-4F68-B79B-1B1AA065A498}" dt="2021-04-01T21:48:27.922" v="1286" actId="27636"/>
        <pc:sldMkLst>
          <pc:docMk/>
          <pc:sldMk cId="2389229991" sldId="944"/>
        </pc:sldMkLst>
        <pc:spChg chg="mod">
          <ac:chgData name="christophe CHUECOS-FONT" userId="7e57acaa-4bc6-4644-8edc-0ecdded28594" providerId="ADAL" clId="{67DE474F-9E2C-4F68-B79B-1B1AA065A498}" dt="2021-04-01T21:48:27.922" v="1286" actId="27636"/>
          <ac:spMkLst>
            <pc:docMk/>
            <pc:sldMk cId="2389229991" sldId="944"/>
            <ac:spMk id="2" creationId="{70302103-84FE-4480-B011-DA713F71A627}"/>
          </ac:spMkLst>
        </pc:spChg>
        <pc:spChg chg="del mod">
          <ac:chgData name="christophe CHUECOS-FONT" userId="7e57acaa-4bc6-4644-8edc-0ecdded28594" providerId="ADAL" clId="{67DE474F-9E2C-4F68-B79B-1B1AA065A498}" dt="2021-04-01T21:48:21.934" v="1283" actId="26606"/>
          <ac:spMkLst>
            <pc:docMk/>
            <pc:sldMk cId="2389229991" sldId="944"/>
            <ac:spMk id="3" creationId="{3D308ED2-B348-48F7-B8ED-CDCEC0E133F8}"/>
          </ac:spMkLst>
        </pc:spChg>
        <pc:spChg chg="add">
          <ac:chgData name="christophe CHUECOS-FONT" userId="7e57acaa-4bc6-4644-8edc-0ecdded28594" providerId="ADAL" clId="{67DE474F-9E2C-4F68-B79B-1B1AA065A498}" dt="2021-04-01T21:48:21.934" v="1283" actId="26606"/>
          <ac:spMkLst>
            <pc:docMk/>
            <pc:sldMk cId="2389229991" sldId="944"/>
            <ac:spMk id="10" creationId="{86C7B4A1-154A-4DF0-AC46-F88D75A2E0FD}"/>
          </ac:spMkLst>
        </pc:spChg>
        <pc:graphicFrameChg chg="add">
          <ac:chgData name="christophe CHUECOS-FONT" userId="7e57acaa-4bc6-4644-8edc-0ecdded28594" providerId="ADAL" clId="{67DE474F-9E2C-4F68-B79B-1B1AA065A498}" dt="2021-04-01T21:48:21.934" v="1283" actId="26606"/>
          <ac:graphicFrameMkLst>
            <pc:docMk/>
            <pc:sldMk cId="2389229991" sldId="944"/>
            <ac:graphicFrameMk id="5" creationId="{2F997F44-93CA-4919-BCD6-0C6F18BCDBA8}"/>
          </ac:graphicFrameMkLst>
        </pc:graphicFrameChg>
        <pc:picChg chg="add">
          <ac:chgData name="christophe CHUECOS-FONT" userId="7e57acaa-4bc6-4644-8edc-0ecdded28594" providerId="ADAL" clId="{67DE474F-9E2C-4F68-B79B-1B1AA065A498}" dt="2021-04-01T21:48:21.934" v="1283" actId="26606"/>
          <ac:picMkLst>
            <pc:docMk/>
            <pc:sldMk cId="2389229991" sldId="944"/>
            <ac:picMk id="6" creationId="{433F55A5-F0D8-4923-9022-ADF91DBEA250}"/>
          </ac:picMkLst>
        </pc:picChg>
      </pc:sldChg>
      <pc:sldChg chg="addSp delSp modSp add mod setClrOvrMap">
        <pc:chgData name="christophe CHUECOS-FONT" userId="7e57acaa-4bc6-4644-8edc-0ecdded28594" providerId="ADAL" clId="{67DE474F-9E2C-4F68-B79B-1B1AA065A498}" dt="2021-04-01T21:49:33.294" v="1293" actId="26606"/>
        <pc:sldMkLst>
          <pc:docMk/>
          <pc:sldMk cId="3412986615" sldId="945"/>
        </pc:sldMkLst>
        <pc:spChg chg="mod">
          <ac:chgData name="christophe CHUECOS-FONT" userId="7e57acaa-4bc6-4644-8edc-0ecdded28594" providerId="ADAL" clId="{67DE474F-9E2C-4F68-B79B-1B1AA065A498}" dt="2021-04-01T21:49:33.294" v="1293" actId="26606"/>
          <ac:spMkLst>
            <pc:docMk/>
            <pc:sldMk cId="3412986615" sldId="945"/>
            <ac:spMk id="2" creationId="{70302103-84FE-4480-B011-DA713F71A627}"/>
          </ac:spMkLst>
        </pc:spChg>
        <pc:spChg chg="del">
          <ac:chgData name="christophe CHUECOS-FONT" userId="7e57acaa-4bc6-4644-8edc-0ecdded28594" providerId="ADAL" clId="{67DE474F-9E2C-4F68-B79B-1B1AA065A498}" dt="2021-04-01T21:49:33.294" v="1293" actId="26606"/>
          <ac:spMkLst>
            <pc:docMk/>
            <pc:sldMk cId="3412986615" sldId="945"/>
            <ac:spMk id="10" creationId="{86C7B4A1-154A-4DF0-AC46-F88D75A2E0FD}"/>
          </ac:spMkLst>
        </pc:spChg>
        <pc:spChg chg="add">
          <ac:chgData name="christophe CHUECOS-FONT" userId="7e57acaa-4bc6-4644-8edc-0ecdded28594" providerId="ADAL" clId="{67DE474F-9E2C-4F68-B79B-1B1AA065A498}" dt="2021-04-01T21:49:33.294" v="1293" actId="26606"/>
          <ac:spMkLst>
            <pc:docMk/>
            <pc:sldMk cId="3412986615" sldId="945"/>
            <ac:spMk id="15" creationId="{9228552E-C8B1-4A80-8448-0787CE0FC704}"/>
          </ac:spMkLst>
        </pc:spChg>
        <pc:graphicFrameChg chg="mod modGraphic">
          <ac:chgData name="christophe CHUECOS-FONT" userId="7e57acaa-4bc6-4644-8edc-0ecdded28594" providerId="ADAL" clId="{67DE474F-9E2C-4F68-B79B-1B1AA065A498}" dt="2021-04-01T21:49:33.294" v="1293" actId="26606"/>
          <ac:graphicFrameMkLst>
            <pc:docMk/>
            <pc:sldMk cId="3412986615" sldId="945"/>
            <ac:graphicFrameMk id="5" creationId="{2F997F44-93CA-4919-BCD6-0C6F18BCDBA8}"/>
          </ac:graphicFrameMkLst>
        </pc:graphicFrameChg>
        <pc:picChg chg="mod">
          <ac:chgData name="christophe CHUECOS-FONT" userId="7e57acaa-4bc6-4644-8edc-0ecdded28594" providerId="ADAL" clId="{67DE474F-9E2C-4F68-B79B-1B1AA065A498}" dt="2021-04-01T21:49:33.294" v="1293" actId="26606"/>
          <ac:picMkLst>
            <pc:docMk/>
            <pc:sldMk cId="3412986615" sldId="945"/>
            <ac:picMk id="6" creationId="{433F55A5-F0D8-4923-9022-ADF91DBEA250}"/>
          </ac:picMkLst>
        </pc:picChg>
      </pc:sldChg>
      <pc:sldChg chg="addSp delSp modSp new mod setBg">
        <pc:chgData name="christophe CHUECOS-FONT" userId="7e57acaa-4bc6-4644-8edc-0ecdded28594" providerId="ADAL" clId="{67DE474F-9E2C-4F68-B79B-1B1AA065A498}" dt="2021-04-01T21:54:18.790" v="1509" actId="255"/>
        <pc:sldMkLst>
          <pc:docMk/>
          <pc:sldMk cId="246643537" sldId="946"/>
        </pc:sldMkLst>
        <pc:spChg chg="mod">
          <ac:chgData name="christophe CHUECOS-FONT" userId="7e57acaa-4bc6-4644-8edc-0ecdded28594" providerId="ADAL" clId="{67DE474F-9E2C-4F68-B79B-1B1AA065A498}" dt="2021-04-01T21:53:20.357" v="1508" actId="26606"/>
          <ac:spMkLst>
            <pc:docMk/>
            <pc:sldMk cId="246643537" sldId="946"/>
            <ac:spMk id="2" creationId="{9908A016-1E9A-4DAD-AFB1-78E502EBDB78}"/>
          </ac:spMkLst>
        </pc:spChg>
        <pc:spChg chg="add del mod">
          <ac:chgData name="christophe CHUECOS-FONT" userId="7e57acaa-4bc6-4644-8edc-0ecdded28594" providerId="ADAL" clId="{67DE474F-9E2C-4F68-B79B-1B1AA065A498}" dt="2021-04-01T21:52:50.582" v="1505" actId="26606"/>
          <ac:spMkLst>
            <pc:docMk/>
            <pc:sldMk cId="246643537" sldId="946"/>
            <ac:spMk id="3" creationId="{15AB0BB4-1B82-4B32-84A2-3F0B0F17E1AC}"/>
          </ac:spMkLst>
        </pc:spChg>
        <pc:spChg chg="add">
          <ac:chgData name="christophe CHUECOS-FONT" userId="7e57acaa-4bc6-4644-8edc-0ecdded28594" providerId="ADAL" clId="{67DE474F-9E2C-4F68-B79B-1B1AA065A498}" dt="2021-04-01T21:53:20.357" v="1508" actId="26606"/>
          <ac:spMkLst>
            <pc:docMk/>
            <pc:sldMk cId="246643537" sldId="946"/>
            <ac:spMk id="12" creationId="{6C4028FD-8BAA-4A19-BFDE-594D991B7552}"/>
          </ac:spMkLst>
        </pc:spChg>
        <pc:graphicFrameChg chg="add del">
          <ac:chgData name="christophe CHUECOS-FONT" userId="7e57acaa-4bc6-4644-8edc-0ecdded28594" providerId="ADAL" clId="{67DE474F-9E2C-4F68-B79B-1B1AA065A498}" dt="2021-04-01T21:52:50.550" v="1504" actId="26606"/>
          <ac:graphicFrameMkLst>
            <pc:docMk/>
            <pc:sldMk cId="246643537" sldId="946"/>
            <ac:graphicFrameMk id="5" creationId="{5BA12AE8-2975-418E-BF3D-B097EF3D37B8}"/>
          </ac:graphicFrameMkLst>
        </pc:graphicFrameChg>
        <pc:graphicFrameChg chg="add mod modGraphic">
          <ac:chgData name="christophe CHUECOS-FONT" userId="7e57acaa-4bc6-4644-8edc-0ecdded28594" providerId="ADAL" clId="{67DE474F-9E2C-4F68-B79B-1B1AA065A498}" dt="2021-04-01T21:54:18.790" v="1509" actId="255"/>
          <ac:graphicFrameMkLst>
            <pc:docMk/>
            <pc:sldMk cId="246643537" sldId="946"/>
            <ac:graphicFrameMk id="7" creationId="{76BAA54C-1744-476C-B424-49C14E6B068F}"/>
          </ac:graphicFrameMkLst>
        </pc:graphicFrameChg>
      </pc:sldChg>
      <pc:sldChg chg="addSp delSp modSp new mod ord setBg">
        <pc:chgData name="christophe CHUECOS-FONT" userId="7e57acaa-4bc6-4644-8edc-0ecdded28594" providerId="ADAL" clId="{67DE474F-9E2C-4F68-B79B-1B1AA065A498}" dt="2021-04-01T22:04:27.735" v="1796"/>
        <pc:sldMkLst>
          <pc:docMk/>
          <pc:sldMk cId="3854939415" sldId="947"/>
        </pc:sldMkLst>
        <pc:spChg chg="mod">
          <ac:chgData name="christophe CHUECOS-FONT" userId="7e57acaa-4bc6-4644-8edc-0ecdded28594" providerId="ADAL" clId="{67DE474F-9E2C-4F68-B79B-1B1AA065A498}" dt="2021-04-01T22:04:04.023" v="1793" actId="26606"/>
          <ac:spMkLst>
            <pc:docMk/>
            <pc:sldMk cId="3854939415" sldId="947"/>
            <ac:spMk id="2" creationId="{AB4BD8A2-5C77-4F6B-ACB6-AB917A0C0D72}"/>
          </ac:spMkLst>
        </pc:spChg>
        <pc:spChg chg="mod">
          <ac:chgData name="christophe CHUECOS-FONT" userId="7e57acaa-4bc6-4644-8edc-0ecdded28594" providerId="ADAL" clId="{67DE474F-9E2C-4F68-B79B-1B1AA065A498}" dt="2021-04-01T22:04:15.694" v="1794" actId="255"/>
          <ac:spMkLst>
            <pc:docMk/>
            <pc:sldMk cId="3854939415" sldId="947"/>
            <ac:spMk id="3" creationId="{667BC496-97F0-4F08-B182-396A614F80AF}"/>
          </ac:spMkLst>
        </pc:spChg>
        <pc:spChg chg="add del">
          <ac:chgData name="christophe CHUECOS-FONT" userId="7e57acaa-4bc6-4644-8edc-0ecdded28594" providerId="ADAL" clId="{67DE474F-9E2C-4F68-B79B-1B1AA065A498}" dt="2021-04-01T22:04:04.023" v="1793" actId="26606"/>
          <ac:spMkLst>
            <pc:docMk/>
            <pc:sldMk cId="3854939415" sldId="947"/>
            <ac:spMk id="10" creationId="{944E28A0-F8F2-4190-AC08-73EF5A051BD4}"/>
          </ac:spMkLst>
        </pc:spChg>
        <pc:spChg chg="add">
          <ac:chgData name="christophe CHUECOS-FONT" userId="7e57acaa-4bc6-4644-8edc-0ecdded28594" providerId="ADAL" clId="{67DE474F-9E2C-4F68-B79B-1B1AA065A498}" dt="2021-04-01T22:04:04.023" v="1793" actId="26606"/>
          <ac:spMkLst>
            <pc:docMk/>
            <pc:sldMk cId="3854939415" sldId="947"/>
            <ac:spMk id="15" creationId="{3E443FD7-A66B-4AA0-872D-B088B9BC5F17}"/>
          </ac:spMkLst>
        </pc:spChg>
        <pc:spChg chg="add">
          <ac:chgData name="christophe CHUECOS-FONT" userId="7e57acaa-4bc6-4644-8edc-0ecdded28594" providerId="ADAL" clId="{67DE474F-9E2C-4F68-B79B-1B1AA065A498}" dt="2021-04-01T22:04:04.023" v="1793" actId="26606"/>
          <ac:spMkLst>
            <pc:docMk/>
            <pc:sldMk cId="3854939415" sldId="947"/>
            <ac:spMk id="17" creationId="{C04BE0EF-3561-49B4-9A29-F283168A91C7}"/>
          </ac:spMkLst>
        </pc:spChg>
        <pc:picChg chg="add mod">
          <ac:chgData name="christophe CHUECOS-FONT" userId="7e57acaa-4bc6-4644-8edc-0ecdded28594" providerId="ADAL" clId="{67DE474F-9E2C-4F68-B79B-1B1AA065A498}" dt="2021-04-01T22:04:04.023" v="1793" actId="26606"/>
          <ac:picMkLst>
            <pc:docMk/>
            <pc:sldMk cId="3854939415" sldId="947"/>
            <ac:picMk id="7" creationId="{E889F2CB-776F-4113-951A-136AF7AF2BD9}"/>
          </ac:picMkLst>
        </pc:picChg>
      </pc:sldChg>
      <pc:sldChg chg="addSp delSp modSp new mod setBg">
        <pc:chgData name="christophe CHUECOS-FONT" userId="7e57acaa-4bc6-4644-8edc-0ecdded28594" providerId="ADAL" clId="{67DE474F-9E2C-4F68-B79B-1B1AA065A498}" dt="2021-04-01T21:56:37.065" v="1594" actId="26606"/>
        <pc:sldMkLst>
          <pc:docMk/>
          <pc:sldMk cId="404236345" sldId="948"/>
        </pc:sldMkLst>
        <pc:spChg chg="mod">
          <ac:chgData name="christophe CHUECOS-FONT" userId="7e57acaa-4bc6-4644-8edc-0ecdded28594" providerId="ADAL" clId="{67DE474F-9E2C-4F68-B79B-1B1AA065A498}" dt="2021-04-01T21:56:37.065" v="1594" actId="26606"/>
          <ac:spMkLst>
            <pc:docMk/>
            <pc:sldMk cId="404236345" sldId="948"/>
            <ac:spMk id="2" creationId="{8D513513-2F52-4253-AF63-2B569A3E069F}"/>
          </ac:spMkLst>
        </pc:spChg>
        <pc:spChg chg="add del">
          <ac:chgData name="christophe CHUECOS-FONT" userId="7e57acaa-4bc6-4644-8edc-0ecdded28594" providerId="ADAL" clId="{67DE474F-9E2C-4F68-B79B-1B1AA065A498}" dt="2021-04-01T21:55:58.486" v="1590"/>
          <ac:spMkLst>
            <pc:docMk/>
            <pc:sldMk cId="404236345" sldId="948"/>
            <ac:spMk id="3" creationId="{4CFE8A5C-E8B0-4678-A9DA-BDAEDBEBB600}"/>
          </ac:spMkLst>
        </pc:spChg>
        <pc:spChg chg="add">
          <ac:chgData name="christophe CHUECOS-FONT" userId="7e57acaa-4bc6-4644-8edc-0ecdded28594" providerId="ADAL" clId="{67DE474F-9E2C-4F68-B79B-1B1AA065A498}" dt="2021-04-01T21:56:37.065" v="1594" actId="26606"/>
          <ac:spMkLst>
            <pc:docMk/>
            <pc:sldMk cId="404236345" sldId="948"/>
            <ac:spMk id="10" creationId="{6166C6D1-23AC-49C4-BA07-238E4E9F8CEB}"/>
          </ac:spMkLst>
        </pc:spChg>
        <pc:spChg chg="add">
          <ac:chgData name="christophe CHUECOS-FONT" userId="7e57acaa-4bc6-4644-8edc-0ecdded28594" providerId="ADAL" clId="{67DE474F-9E2C-4F68-B79B-1B1AA065A498}" dt="2021-04-01T21:56:37.065" v="1594" actId="26606"/>
          <ac:spMkLst>
            <pc:docMk/>
            <pc:sldMk cId="404236345" sldId="948"/>
            <ac:spMk id="12" creationId="{B775CD93-9DF2-48CB-9F57-1BCA9A46C7FA}"/>
          </ac:spMkLst>
        </pc:spChg>
        <pc:spChg chg="add">
          <ac:chgData name="christophe CHUECOS-FONT" userId="7e57acaa-4bc6-4644-8edc-0ecdded28594" providerId="ADAL" clId="{67DE474F-9E2C-4F68-B79B-1B1AA065A498}" dt="2021-04-01T21:56:37.065" v="1594" actId="26606"/>
          <ac:spMkLst>
            <pc:docMk/>
            <pc:sldMk cId="404236345" sldId="948"/>
            <ac:spMk id="14" creationId="{E186B68C-84BC-4A6E-99D1-EE87483C1349}"/>
          </ac:spMkLst>
        </pc:spChg>
        <pc:spChg chg="add">
          <ac:chgData name="christophe CHUECOS-FONT" userId="7e57acaa-4bc6-4644-8edc-0ecdded28594" providerId="ADAL" clId="{67DE474F-9E2C-4F68-B79B-1B1AA065A498}" dt="2021-04-01T21:56:37.065" v="1594" actId="26606"/>
          <ac:spMkLst>
            <pc:docMk/>
            <pc:sldMk cId="404236345" sldId="948"/>
            <ac:spMk id="16" creationId="{1C091803-41C2-48E0-9228-5148460C7479}"/>
          </ac:spMkLst>
        </pc:spChg>
        <pc:graphicFrameChg chg="add del mod">
          <ac:chgData name="christophe CHUECOS-FONT" userId="7e57acaa-4bc6-4644-8edc-0ecdded28594" providerId="ADAL" clId="{67DE474F-9E2C-4F68-B79B-1B1AA065A498}" dt="2021-04-01T21:55:48.620" v="1589"/>
          <ac:graphicFrameMkLst>
            <pc:docMk/>
            <pc:sldMk cId="404236345" sldId="948"/>
            <ac:graphicFrameMk id="4" creationId="{7AD60107-0291-45A8-B020-9811F5906237}"/>
          </ac:graphicFrameMkLst>
        </pc:graphicFrameChg>
        <pc:graphicFrameChg chg="add mod modGraphic">
          <ac:chgData name="christophe CHUECOS-FONT" userId="7e57acaa-4bc6-4644-8edc-0ecdded28594" providerId="ADAL" clId="{67DE474F-9E2C-4F68-B79B-1B1AA065A498}" dt="2021-04-01T21:56:37.065" v="1594" actId="26606"/>
          <ac:graphicFrameMkLst>
            <pc:docMk/>
            <pc:sldMk cId="404236345" sldId="948"/>
            <ac:graphicFrameMk id="5" creationId="{60A3C58A-134C-4B52-A66C-326E23765FEF}"/>
          </ac:graphicFrameMkLst>
        </pc:graphicFrameChg>
      </pc:sldChg>
      <pc:sldChg chg="addSp delSp modSp new mod setBg setClrOvrMap">
        <pc:chgData name="christophe CHUECOS-FONT" userId="7e57acaa-4bc6-4644-8edc-0ecdded28594" providerId="ADAL" clId="{67DE474F-9E2C-4F68-B79B-1B1AA065A498}" dt="2021-04-01T22:01:31.087" v="1666" actId="255"/>
        <pc:sldMkLst>
          <pc:docMk/>
          <pc:sldMk cId="2081772969" sldId="949"/>
        </pc:sldMkLst>
        <pc:spChg chg="mod">
          <ac:chgData name="christophe CHUECOS-FONT" userId="7e57acaa-4bc6-4644-8edc-0ecdded28594" providerId="ADAL" clId="{67DE474F-9E2C-4F68-B79B-1B1AA065A498}" dt="2021-04-01T22:01:12.031" v="1663" actId="26606"/>
          <ac:spMkLst>
            <pc:docMk/>
            <pc:sldMk cId="2081772969" sldId="949"/>
            <ac:spMk id="2" creationId="{E68639B9-77A1-4188-9120-BBBC0852D100}"/>
          </ac:spMkLst>
        </pc:spChg>
        <pc:spChg chg="del mod">
          <ac:chgData name="christophe CHUECOS-FONT" userId="7e57acaa-4bc6-4644-8edc-0ecdded28594" providerId="ADAL" clId="{67DE474F-9E2C-4F68-B79B-1B1AA065A498}" dt="2021-04-01T21:58:36.989" v="1622" actId="26606"/>
          <ac:spMkLst>
            <pc:docMk/>
            <pc:sldMk cId="2081772969" sldId="949"/>
            <ac:spMk id="3" creationId="{018050C4-92D7-4977-B5FF-EED7769B4138}"/>
          </ac:spMkLst>
        </pc:spChg>
        <pc:spChg chg="add del">
          <ac:chgData name="christophe CHUECOS-FONT" userId="7e57acaa-4bc6-4644-8edc-0ecdded28594" providerId="ADAL" clId="{67DE474F-9E2C-4F68-B79B-1B1AA065A498}" dt="2021-04-01T22:01:12.031" v="1663" actId="26606"/>
          <ac:spMkLst>
            <pc:docMk/>
            <pc:sldMk cId="2081772969" sldId="949"/>
            <ac:spMk id="9" creationId="{B775CD93-9DF2-48CB-9F57-1BCA9A46C7FA}"/>
          </ac:spMkLst>
        </pc:spChg>
        <pc:spChg chg="add del">
          <ac:chgData name="christophe CHUECOS-FONT" userId="7e57acaa-4bc6-4644-8edc-0ecdded28594" providerId="ADAL" clId="{67DE474F-9E2C-4F68-B79B-1B1AA065A498}" dt="2021-04-01T22:01:12.031" v="1663" actId="26606"/>
          <ac:spMkLst>
            <pc:docMk/>
            <pc:sldMk cId="2081772969" sldId="949"/>
            <ac:spMk id="11" creationId="{6166C6D1-23AC-49C4-BA07-238E4E9F8CEB}"/>
          </ac:spMkLst>
        </pc:spChg>
        <pc:spChg chg="add del">
          <ac:chgData name="christophe CHUECOS-FONT" userId="7e57acaa-4bc6-4644-8edc-0ecdded28594" providerId="ADAL" clId="{67DE474F-9E2C-4F68-B79B-1B1AA065A498}" dt="2021-04-01T22:01:12.031" v="1663" actId="26606"/>
          <ac:spMkLst>
            <pc:docMk/>
            <pc:sldMk cId="2081772969" sldId="949"/>
            <ac:spMk id="13" creationId="{E186B68C-84BC-4A6E-99D1-EE87483C1349}"/>
          </ac:spMkLst>
        </pc:spChg>
        <pc:spChg chg="add del">
          <ac:chgData name="christophe CHUECOS-FONT" userId="7e57acaa-4bc6-4644-8edc-0ecdded28594" providerId="ADAL" clId="{67DE474F-9E2C-4F68-B79B-1B1AA065A498}" dt="2021-04-01T22:01:12.031" v="1663" actId="26606"/>
          <ac:spMkLst>
            <pc:docMk/>
            <pc:sldMk cId="2081772969" sldId="949"/>
            <ac:spMk id="15" creationId="{1C091803-41C2-48E0-9228-5148460C7479}"/>
          </ac:spMkLst>
        </pc:spChg>
        <pc:spChg chg="add">
          <ac:chgData name="christophe CHUECOS-FONT" userId="7e57acaa-4bc6-4644-8edc-0ecdded28594" providerId="ADAL" clId="{67DE474F-9E2C-4F68-B79B-1B1AA065A498}" dt="2021-04-01T22:01:12.031" v="1663" actId="26606"/>
          <ac:spMkLst>
            <pc:docMk/>
            <pc:sldMk cId="2081772969" sldId="949"/>
            <ac:spMk id="20" creationId="{2E442304-DDBD-4F7B-8017-36BCC863FB40}"/>
          </ac:spMkLst>
        </pc:spChg>
        <pc:spChg chg="add del">
          <ac:chgData name="christophe CHUECOS-FONT" userId="7e57acaa-4bc6-4644-8edc-0ecdded28594" providerId="ADAL" clId="{67DE474F-9E2C-4F68-B79B-1B1AA065A498}" dt="2021-04-01T22:01:11.982" v="1662" actId="26606"/>
          <ac:spMkLst>
            <pc:docMk/>
            <pc:sldMk cId="2081772969" sldId="949"/>
            <ac:spMk id="21" creationId="{9228552E-C8B1-4A80-8448-0787CE0FC704}"/>
          </ac:spMkLst>
        </pc:spChg>
        <pc:spChg chg="add">
          <ac:chgData name="christophe CHUECOS-FONT" userId="7e57acaa-4bc6-4644-8edc-0ecdded28594" providerId="ADAL" clId="{67DE474F-9E2C-4F68-B79B-1B1AA065A498}" dt="2021-04-01T22:01:12.031" v="1663" actId="26606"/>
          <ac:spMkLst>
            <pc:docMk/>
            <pc:sldMk cId="2081772969" sldId="949"/>
            <ac:spMk id="22" creationId="{5E107275-3853-46FD-A241-DE4355A42675}"/>
          </ac:spMkLst>
        </pc:spChg>
        <pc:graphicFrameChg chg="add mod modGraphic">
          <ac:chgData name="christophe CHUECOS-FONT" userId="7e57acaa-4bc6-4644-8edc-0ecdded28594" providerId="ADAL" clId="{67DE474F-9E2C-4F68-B79B-1B1AA065A498}" dt="2021-04-01T22:01:31.087" v="1666" actId="255"/>
          <ac:graphicFrameMkLst>
            <pc:docMk/>
            <pc:sldMk cId="2081772969" sldId="949"/>
            <ac:graphicFrameMk id="5" creationId="{378E892E-3B3E-4743-AFE3-FFD5DEEECD15}"/>
          </ac:graphicFrameMkLst>
        </pc:graphicFrameChg>
        <pc:picChg chg="add del">
          <ac:chgData name="christophe CHUECOS-FONT" userId="7e57acaa-4bc6-4644-8edc-0ecdded28594" providerId="ADAL" clId="{67DE474F-9E2C-4F68-B79B-1B1AA065A498}" dt="2021-04-01T22:01:11.982" v="1662" actId="26606"/>
          <ac:picMkLst>
            <pc:docMk/>
            <pc:sldMk cId="2081772969" sldId="949"/>
            <ac:picMk id="17" creationId="{9B6235F9-7DA5-4D7C-8D23-F48A8E8B9EFA}"/>
          </ac:picMkLst>
        </pc:picChg>
      </pc:sldChg>
      <pc:sldChg chg="addSp delSp modSp add mod">
        <pc:chgData name="christophe CHUECOS-FONT" userId="7e57acaa-4bc6-4644-8edc-0ecdded28594" providerId="ADAL" clId="{67DE474F-9E2C-4F68-B79B-1B1AA065A498}" dt="2021-04-01T22:00:46.324" v="1660" actId="26606"/>
        <pc:sldMkLst>
          <pc:docMk/>
          <pc:sldMk cId="1251446674" sldId="950"/>
        </pc:sldMkLst>
        <pc:spChg chg="mod">
          <ac:chgData name="christophe CHUECOS-FONT" userId="7e57acaa-4bc6-4644-8edc-0ecdded28594" providerId="ADAL" clId="{67DE474F-9E2C-4F68-B79B-1B1AA065A498}" dt="2021-04-01T22:00:46.324" v="1660" actId="26606"/>
          <ac:spMkLst>
            <pc:docMk/>
            <pc:sldMk cId="1251446674" sldId="950"/>
            <ac:spMk id="2" creationId="{E68639B9-77A1-4188-9120-BBBC0852D100}"/>
          </ac:spMkLst>
        </pc:spChg>
        <pc:spChg chg="del">
          <ac:chgData name="christophe CHUECOS-FONT" userId="7e57acaa-4bc6-4644-8edc-0ecdded28594" providerId="ADAL" clId="{67DE474F-9E2C-4F68-B79B-1B1AA065A498}" dt="2021-04-01T22:00:46.324" v="1660" actId="26606"/>
          <ac:spMkLst>
            <pc:docMk/>
            <pc:sldMk cId="1251446674" sldId="950"/>
            <ac:spMk id="9" creationId="{B775CD93-9DF2-48CB-9F57-1BCA9A46C7FA}"/>
          </ac:spMkLst>
        </pc:spChg>
        <pc:spChg chg="del">
          <ac:chgData name="christophe CHUECOS-FONT" userId="7e57acaa-4bc6-4644-8edc-0ecdded28594" providerId="ADAL" clId="{67DE474F-9E2C-4F68-B79B-1B1AA065A498}" dt="2021-04-01T22:00:46.324" v="1660" actId="26606"/>
          <ac:spMkLst>
            <pc:docMk/>
            <pc:sldMk cId="1251446674" sldId="950"/>
            <ac:spMk id="11" creationId="{6166C6D1-23AC-49C4-BA07-238E4E9F8CEB}"/>
          </ac:spMkLst>
        </pc:spChg>
        <pc:spChg chg="del">
          <ac:chgData name="christophe CHUECOS-FONT" userId="7e57acaa-4bc6-4644-8edc-0ecdded28594" providerId="ADAL" clId="{67DE474F-9E2C-4F68-B79B-1B1AA065A498}" dt="2021-04-01T22:00:46.324" v="1660" actId="26606"/>
          <ac:spMkLst>
            <pc:docMk/>
            <pc:sldMk cId="1251446674" sldId="950"/>
            <ac:spMk id="13" creationId="{E186B68C-84BC-4A6E-99D1-EE87483C1349}"/>
          </ac:spMkLst>
        </pc:spChg>
        <pc:spChg chg="del">
          <ac:chgData name="christophe CHUECOS-FONT" userId="7e57acaa-4bc6-4644-8edc-0ecdded28594" providerId="ADAL" clId="{67DE474F-9E2C-4F68-B79B-1B1AA065A498}" dt="2021-04-01T22:00:46.324" v="1660" actId="26606"/>
          <ac:spMkLst>
            <pc:docMk/>
            <pc:sldMk cId="1251446674" sldId="950"/>
            <ac:spMk id="15" creationId="{1C091803-41C2-48E0-9228-5148460C7479}"/>
          </ac:spMkLst>
        </pc:spChg>
        <pc:spChg chg="add">
          <ac:chgData name="christophe CHUECOS-FONT" userId="7e57acaa-4bc6-4644-8edc-0ecdded28594" providerId="ADAL" clId="{67DE474F-9E2C-4F68-B79B-1B1AA065A498}" dt="2021-04-01T22:00:46.324" v="1660" actId="26606"/>
          <ac:spMkLst>
            <pc:docMk/>
            <pc:sldMk cId="1251446674" sldId="950"/>
            <ac:spMk id="20" creationId="{35DB3719-6FDC-4E5D-891D-FF40B7300F64}"/>
          </ac:spMkLst>
        </pc:spChg>
        <pc:spChg chg="add">
          <ac:chgData name="christophe CHUECOS-FONT" userId="7e57acaa-4bc6-4644-8edc-0ecdded28594" providerId="ADAL" clId="{67DE474F-9E2C-4F68-B79B-1B1AA065A498}" dt="2021-04-01T22:00:46.324" v="1660" actId="26606"/>
          <ac:spMkLst>
            <pc:docMk/>
            <pc:sldMk cId="1251446674" sldId="950"/>
            <ac:spMk id="22" creationId="{E0CBAC23-2E3F-4A90-BA59-F8299F6A5439}"/>
          </ac:spMkLst>
        </pc:spChg>
        <pc:graphicFrameChg chg="mod modGraphic">
          <ac:chgData name="christophe CHUECOS-FONT" userId="7e57acaa-4bc6-4644-8edc-0ecdded28594" providerId="ADAL" clId="{67DE474F-9E2C-4F68-B79B-1B1AA065A498}" dt="2021-04-01T22:00:46.324" v="1660" actId="26606"/>
          <ac:graphicFrameMkLst>
            <pc:docMk/>
            <pc:sldMk cId="1251446674" sldId="950"/>
            <ac:graphicFrameMk id="5" creationId="{378E892E-3B3E-4743-AFE3-FFD5DEEECD15}"/>
          </ac:graphicFrameMkLst>
        </pc:graphicFrameChg>
      </pc:sldChg>
      <pc:sldChg chg="add del ord">
        <pc:chgData name="christophe CHUECOS-FONT" userId="7e57acaa-4bc6-4644-8edc-0ecdded28594" providerId="ADAL" clId="{67DE474F-9E2C-4F68-B79B-1B1AA065A498}" dt="2021-04-01T22:04:31.301" v="1797" actId="47"/>
        <pc:sldMkLst>
          <pc:docMk/>
          <pc:sldMk cId="1781056938" sldId="951"/>
        </pc:sldMkLst>
      </pc:sldChg>
      <pc:sldChg chg="addSp delSp modSp add mod">
        <pc:chgData name="christophe CHUECOS-FONT" userId="7e57acaa-4bc6-4644-8edc-0ecdded28594" providerId="ADAL" clId="{67DE474F-9E2C-4F68-B79B-1B1AA065A498}" dt="2021-04-01T22:03:55.759" v="1792" actId="255"/>
        <pc:sldMkLst>
          <pc:docMk/>
          <pc:sldMk cId="3226514533" sldId="952"/>
        </pc:sldMkLst>
        <pc:spChg chg="mod">
          <ac:chgData name="christophe CHUECOS-FONT" userId="7e57acaa-4bc6-4644-8edc-0ecdded28594" providerId="ADAL" clId="{67DE474F-9E2C-4F68-B79B-1B1AA065A498}" dt="2021-04-01T22:03:47.478" v="1791" actId="26606"/>
          <ac:spMkLst>
            <pc:docMk/>
            <pc:sldMk cId="3226514533" sldId="952"/>
            <ac:spMk id="2" creationId="{AB4BD8A2-5C77-4F6B-ACB6-AB917A0C0D72}"/>
          </ac:spMkLst>
        </pc:spChg>
        <pc:spChg chg="mod">
          <ac:chgData name="christophe CHUECOS-FONT" userId="7e57acaa-4bc6-4644-8edc-0ecdded28594" providerId="ADAL" clId="{67DE474F-9E2C-4F68-B79B-1B1AA065A498}" dt="2021-04-01T22:03:55.759" v="1792" actId="255"/>
          <ac:spMkLst>
            <pc:docMk/>
            <pc:sldMk cId="3226514533" sldId="952"/>
            <ac:spMk id="3" creationId="{667BC496-97F0-4F08-B182-396A614F80AF}"/>
          </ac:spMkLst>
        </pc:spChg>
        <pc:spChg chg="del">
          <ac:chgData name="christophe CHUECOS-FONT" userId="7e57acaa-4bc6-4644-8edc-0ecdded28594" providerId="ADAL" clId="{67DE474F-9E2C-4F68-B79B-1B1AA065A498}" dt="2021-04-01T22:03:47.478" v="1791" actId="26606"/>
          <ac:spMkLst>
            <pc:docMk/>
            <pc:sldMk cId="3226514533" sldId="952"/>
            <ac:spMk id="10" creationId="{944E28A0-F8F2-4190-AC08-73EF5A051BD4}"/>
          </ac:spMkLst>
        </pc:spChg>
        <pc:spChg chg="add">
          <ac:chgData name="christophe CHUECOS-FONT" userId="7e57acaa-4bc6-4644-8edc-0ecdded28594" providerId="ADAL" clId="{67DE474F-9E2C-4F68-B79B-1B1AA065A498}" dt="2021-04-01T22:03:47.478" v="1791" actId="26606"/>
          <ac:spMkLst>
            <pc:docMk/>
            <pc:sldMk cId="3226514533" sldId="952"/>
            <ac:spMk id="15" creationId="{3E443FD7-A66B-4AA0-872D-B088B9BC5F17}"/>
          </ac:spMkLst>
        </pc:spChg>
        <pc:spChg chg="add">
          <ac:chgData name="christophe CHUECOS-FONT" userId="7e57acaa-4bc6-4644-8edc-0ecdded28594" providerId="ADAL" clId="{67DE474F-9E2C-4F68-B79B-1B1AA065A498}" dt="2021-04-01T22:03:47.478" v="1791" actId="26606"/>
          <ac:spMkLst>
            <pc:docMk/>
            <pc:sldMk cId="3226514533" sldId="952"/>
            <ac:spMk id="17" creationId="{C04BE0EF-3561-49B4-9A29-F283168A91C7}"/>
          </ac:spMkLst>
        </pc:spChg>
        <pc:picChg chg="mod">
          <ac:chgData name="christophe CHUECOS-FONT" userId="7e57acaa-4bc6-4644-8edc-0ecdded28594" providerId="ADAL" clId="{67DE474F-9E2C-4F68-B79B-1B1AA065A498}" dt="2021-04-01T22:03:47.478" v="1791" actId="26606"/>
          <ac:picMkLst>
            <pc:docMk/>
            <pc:sldMk cId="3226514533" sldId="952"/>
            <ac:picMk id="7" creationId="{E889F2CB-776F-4113-951A-136AF7AF2BD9}"/>
          </ac:picMkLst>
        </pc:picChg>
      </pc:sldChg>
      <pc:sldChg chg="addSp modSp new mod setBg">
        <pc:chgData name="christophe CHUECOS-FONT" userId="7e57acaa-4bc6-4644-8edc-0ecdded28594" providerId="ADAL" clId="{67DE474F-9E2C-4F68-B79B-1B1AA065A498}" dt="2021-04-01T22:12:04.379" v="1911" actId="6549"/>
        <pc:sldMkLst>
          <pc:docMk/>
          <pc:sldMk cId="1557249580" sldId="953"/>
        </pc:sldMkLst>
        <pc:spChg chg="mod">
          <ac:chgData name="christophe CHUECOS-FONT" userId="7e57acaa-4bc6-4644-8edc-0ecdded28594" providerId="ADAL" clId="{67DE474F-9E2C-4F68-B79B-1B1AA065A498}" dt="2021-04-01T22:11:40.859" v="1899" actId="26606"/>
          <ac:spMkLst>
            <pc:docMk/>
            <pc:sldMk cId="1557249580" sldId="953"/>
            <ac:spMk id="2" creationId="{155D0AB6-2E9F-40DC-AE5E-95029B2B410C}"/>
          </ac:spMkLst>
        </pc:spChg>
        <pc:spChg chg="mod">
          <ac:chgData name="christophe CHUECOS-FONT" userId="7e57acaa-4bc6-4644-8edc-0ecdded28594" providerId="ADAL" clId="{67DE474F-9E2C-4F68-B79B-1B1AA065A498}" dt="2021-04-01T22:12:04.379" v="1911" actId="6549"/>
          <ac:spMkLst>
            <pc:docMk/>
            <pc:sldMk cId="1557249580" sldId="953"/>
            <ac:spMk id="3" creationId="{2C446EB7-E210-43B1-9FEF-9EBC83FC52C4}"/>
          </ac:spMkLst>
        </pc:spChg>
        <pc:spChg chg="add">
          <ac:chgData name="christophe CHUECOS-FONT" userId="7e57acaa-4bc6-4644-8edc-0ecdded28594" providerId="ADAL" clId="{67DE474F-9E2C-4F68-B79B-1B1AA065A498}" dt="2021-04-01T22:11:40.859" v="1899" actId="26606"/>
          <ac:spMkLst>
            <pc:docMk/>
            <pc:sldMk cId="1557249580" sldId="953"/>
            <ac:spMk id="8" creationId="{AC17DE74-01C9-4859-B65A-85CF999E8580}"/>
          </ac:spMkLst>
        </pc:spChg>
        <pc:spChg chg="add">
          <ac:chgData name="christophe CHUECOS-FONT" userId="7e57acaa-4bc6-4644-8edc-0ecdded28594" providerId="ADAL" clId="{67DE474F-9E2C-4F68-B79B-1B1AA065A498}" dt="2021-04-01T22:11:40.859" v="1899" actId="26606"/>
          <ac:spMkLst>
            <pc:docMk/>
            <pc:sldMk cId="1557249580" sldId="953"/>
            <ac:spMk id="10" creationId="{068C0432-0E90-4CC1-8CD3-D44A90DF07EF}"/>
          </ac:spMkLst>
        </pc:spChg>
      </pc:sldChg>
      <pc:sldChg chg="addSp delSp modSp add mod setBg setClrOvrMap">
        <pc:chgData name="christophe CHUECOS-FONT" userId="7e57acaa-4bc6-4644-8edc-0ecdded28594" providerId="ADAL" clId="{67DE474F-9E2C-4F68-B79B-1B1AA065A498}" dt="2021-04-02T06:17:44.043" v="2167" actId="26606"/>
        <pc:sldMkLst>
          <pc:docMk/>
          <pc:sldMk cId="4134792754" sldId="954"/>
        </pc:sldMkLst>
        <pc:spChg chg="mod">
          <ac:chgData name="christophe CHUECOS-FONT" userId="7e57acaa-4bc6-4644-8edc-0ecdded28594" providerId="ADAL" clId="{67DE474F-9E2C-4F68-B79B-1B1AA065A498}" dt="2021-04-02T06:17:44.043" v="2167" actId="26606"/>
          <ac:spMkLst>
            <pc:docMk/>
            <pc:sldMk cId="4134792754" sldId="954"/>
            <ac:spMk id="2" creationId="{41644713-AF21-4543-94FE-A96FEBAA2B11}"/>
          </ac:spMkLst>
        </pc:spChg>
        <pc:spChg chg="del mod">
          <ac:chgData name="christophe CHUECOS-FONT" userId="7e57acaa-4bc6-4644-8edc-0ecdded28594" providerId="ADAL" clId="{67DE474F-9E2C-4F68-B79B-1B1AA065A498}" dt="2021-04-02T06:17:44.043" v="2167" actId="26606"/>
          <ac:spMkLst>
            <pc:docMk/>
            <pc:sldMk cId="4134792754" sldId="954"/>
            <ac:spMk id="3" creationId="{6E6AB3AA-03B3-4E7A-94A3-3EB3E0E9D005}"/>
          </ac:spMkLst>
        </pc:spChg>
        <pc:spChg chg="del">
          <ac:chgData name="christophe CHUECOS-FONT" userId="7e57acaa-4bc6-4644-8edc-0ecdded28594" providerId="ADAL" clId="{67DE474F-9E2C-4F68-B79B-1B1AA065A498}" dt="2021-04-02T06:17:44.043" v="2167" actId="26606"/>
          <ac:spMkLst>
            <pc:docMk/>
            <pc:sldMk cId="4134792754" sldId="954"/>
            <ac:spMk id="8" creationId="{1ACA2EA0-FFD3-42EC-9406-B595015ED96E}"/>
          </ac:spMkLst>
        </pc:spChg>
        <pc:spChg chg="del">
          <ac:chgData name="christophe CHUECOS-FONT" userId="7e57acaa-4bc6-4644-8edc-0ecdded28594" providerId="ADAL" clId="{67DE474F-9E2C-4F68-B79B-1B1AA065A498}" dt="2021-04-02T06:17:44.043" v="2167" actId="26606"/>
          <ac:spMkLst>
            <pc:docMk/>
            <pc:sldMk cId="4134792754" sldId="954"/>
            <ac:spMk id="10" creationId="{D5288BCE-665C-472A-8C43-664BCFA31E43}"/>
          </ac:spMkLst>
        </pc:spChg>
        <pc:spChg chg="del">
          <ac:chgData name="christophe CHUECOS-FONT" userId="7e57acaa-4bc6-4644-8edc-0ecdded28594" providerId="ADAL" clId="{67DE474F-9E2C-4F68-B79B-1B1AA065A498}" dt="2021-04-02T06:17:44.043" v="2167" actId="26606"/>
          <ac:spMkLst>
            <pc:docMk/>
            <pc:sldMk cId="4134792754" sldId="954"/>
            <ac:spMk id="12" creationId="{46C57131-53A7-4C1A-BEA8-25F06A06AD29}"/>
          </ac:spMkLst>
        </pc:spChg>
        <pc:spChg chg="add">
          <ac:chgData name="christophe CHUECOS-FONT" userId="7e57acaa-4bc6-4644-8edc-0ecdded28594" providerId="ADAL" clId="{67DE474F-9E2C-4F68-B79B-1B1AA065A498}" dt="2021-04-02T06:17:44.043" v="2167" actId="26606"/>
          <ac:spMkLst>
            <pc:docMk/>
            <pc:sldMk cId="4134792754" sldId="954"/>
            <ac:spMk id="18" creationId="{71B2258F-86CA-4D4D-8270-BC05FCDEBFB3}"/>
          </ac:spMkLst>
        </pc:spChg>
        <pc:picChg chg="add">
          <ac:chgData name="christophe CHUECOS-FONT" userId="7e57acaa-4bc6-4644-8edc-0ecdded28594" providerId="ADAL" clId="{67DE474F-9E2C-4F68-B79B-1B1AA065A498}" dt="2021-04-02T06:17:44.043" v="2167" actId="26606"/>
          <ac:picMkLst>
            <pc:docMk/>
            <pc:sldMk cId="4134792754" sldId="954"/>
            <ac:picMk id="14" creationId="{A9628A4C-9EB8-435C-93AE-2A98D3C90F96}"/>
          </ac:picMkLst>
        </pc:picChg>
      </pc:sldChg>
      <pc:sldChg chg="addSp delSp modSp add mod">
        <pc:chgData name="christophe CHUECOS-FONT" userId="7e57acaa-4bc6-4644-8edc-0ecdded28594" providerId="ADAL" clId="{67DE474F-9E2C-4F68-B79B-1B1AA065A498}" dt="2021-04-01T22:09:35.062" v="1854" actId="6549"/>
        <pc:sldMkLst>
          <pc:docMk/>
          <pc:sldMk cId="145373554" sldId="955"/>
        </pc:sldMkLst>
        <pc:spChg chg="mod">
          <ac:chgData name="christophe CHUECOS-FONT" userId="7e57acaa-4bc6-4644-8edc-0ecdded28594" providerId="ADAL" clId="{67DE474F-9E2C-4F68-B79B-1B1AA065A498}" dt="2021-04-01T22:08:12.377" v="1835" actId="1076"/>
          <ac:spMkLst>
            <pc:docMk/>
            <pc:sldMk cId="145373554" sldId="955"/>
            <ac:spMk id="2" creationId="{41644713-AF21-4543-94FE-A96FEBAA2B11}"/>
          </ac:spMkLst>
        </pc:spChg>
        <pc:spChg chg="del">
          <ac:chgData name="christophe CHUECOS-FONT" userId="7e57acaa-4bc6-4644-8edc-0ecdded28594" providerId="ADAL" clId="{67DE474F-9E2C-4F68-B79B-1B1AA065A498}" dt="2021-04-01T22:06:48.018" v="1826" actId="21"/>
          <ac:spMkLst>
            <pc:docMk/>
            <pc:sldMk cId="145373554" sldId="955"/>
            <ac:spMk id="3" creationId="{6E6AB3AA-03B3-4E7A-94A3-3EB3E0E9D005}"/>
          </ac:spMkLst>
        </pc:spChg>
        <pc:spChg chg="add del mod">
          <ac:chgData name="christophe CHUECOS-FONT" userId="7e57acaa-4bc6-4644-8edc-0ecdded28594" providerId="ADAL" clId="{67DE474F-9E2C-4F68-B79B-1B1AA065A498}" dt="2021-04-01T22:07:03.214" v="1827" actId="21"/>
          <ac:spMkLst>
            <pc:docMk/>
            <pc:sldMk cId="145373554" sldId="955"/>
            <ac:spMk id="6" creationId="{5BEDEEC2-628A-4238-B274-D5D515C9FE99}"/>
          </ac:spMkLst>
        </pc:spChg>
        <pc:graphicFrameChg chg="add mod modGraphic">
          <ac:chgData name="christophe CHUECOS-FONT" userId="7e57acaa-4bc6-4644-8edc-0ecdded28594" providerId="ADAL" clId="{67DE474F-9E2C-4F68-B79B-1B1AA065A498}" dt="2021-04-01T22:09:35.062" v="1854" actId="6549"/>
          <ac:graphicFrameMkLst>
            <pc:docMk/>
            <pc:sldMk cId="145373554" sldId="955"/>
            <ac:graphicFrameMk id="4" creationId="{DED4966F-E2DC-47D2-8406-77E6764A6DB7}"/>
          </ac:graphicFrameMkLst>
        </pc:graphicFrameChg>
      </pc:sldChg>
      <pc:sldChg chg="modSp add mod">
        <pc:chgData name="christophe CHUECOS-FONT" userId="7e57acaa-4bc6-4644-8edc-0ecdded28594" providerId="ADAL" clId="{67DE474F-9E2C-4F68-B79B-1B1AA065A498}" dt="2021-04-01T22:12:58.777" v="1914" actId="255"/>
        <pc:sldMkLst>
          <pc:docMk/>
          <pc:sldMk cId="3953886819" sldId="956"/>
        </pc:sldMkLst>
        <pc:spChg chg="mod">
          <ac:chgData name="christophe CHUECOS-FONT" userId="7e57acaa-4bc6-4644-8edc-0ecdded28594" providerId="ADAL" clId="{67DE474F-9E2C-4F68-B79B-1B1AA065A498}" dt="2021-04-01T22:12:58.777" v="1914" actId="255"/>
          <ac:spMkLst>
            <pc:docMk/>
            <pc:sldMk cId="3953886819" sldId="956"/>
            <ac:spMk id="3" creationId="{2C446EB7-E210-43B1-9FEF-9EBC83FC52C4}"/>
          </ac:spMkLst>
        </pc:spChg>
      </pc:sldChg>
      <pc:sldChg chg="modSp add mod ord">
        <pc:chgData name="christophe CHUECOS-FONT" userId="7e57acaa-4bc6-4644-8edc-0ecdded28594" providerId="ADAL" clId="{67DE474F-9E2C-4F68-B79B-1B1AA065A498}" dt="2021-04-02T06:12:09.613" v="2048" actId="20577"/>
        <pc:sldMkLst>
          <pc:docMk/>
          <pc:sldMk cId="1604631660" sldId="957"/>
        </pc:sldMkLst>
        <pc:spChg chg="mod">
          <ac:chgData name="christophe CHUECOS-FONT" userId="7e57acaa-4bc6-4644-8edc-0ecdded28594" providerId="ADAL" clId="{67DE474F-9E2C-4F68-B79B-1B1AA065A498}" dt="2021-04-02T06:10:07.194" v="1930" actId="6549"/>
          <ac:spMkLst>
            <pc:docMk/>
            <pc:sldMk cId="1604631660" sldId="957"/>
            <ac:spMk id="2" creationId="{41644713-AF21-4543-94FE-A96FEBAA2B11}"/>
          </ac:spMkLst>
        </pc:spChg>
        <pc:spChg chg="mod">
          <ac:chgData name="christophe CHUECOS-FONT" userId="7e57acaa-4bc6-4644-8edc-0ecdded28594" providerId="ADAL" clId="{67DE474F-9E2C-4F68-B79B-1B1AA065A498}" dt="2021-04-02T06:12:09.613" v="2048" actId="20577"/>
          <ac:spMkLst>
            <pc:docMk/>
            <pc:sldMk cId="1604631660" sldId="957"/>
            <ac:spMk id="3" creationId="{6E6AB3AA-03B3-4E7A-94A3-3EB3E0E9D005}"/>
          </ac:spMkLst>
        </pc:spChg>
      </pc:sldChg>
      <pc:sldChg chg="modSp add mod ord">
        <pc:chgData name="christophe CHUECOS-FONT" userId="7e57acaa-4bc6-4644-8edc-0ecdded28594" providerId="ADAL" clId="{67DE474F-9E2C-4F68-B79B-1B1AA065A498}" dt="2021-04-02T06:13:43.998" v="2105" actId="20577"/>
        <pc:sldMkLst>
          <pc:docMk/>
          <pc:sldMk cId="2629396649" sldId="958"/>
        </pc:sldMkLst>
        <pc:spChg chg="mod">
          <ac:chgData name="christophe CHUECOS-FONT" userId="7e57acaa-4bc6-4644-8edc-0ecdded28594" providerId="ADAL" clId="{67DE474F-9E2C-4F68-B79B-1B1AA065A498}" dt="2021-04-02T06:10:31.860" v="1937" actId="20577"/>
          <ac:spMkLst>
            <pc:docMk/>
            <pc:sldMk cId="2629396649" sldId="958"/>
            <ac:spMk id="2" creationId="{41644713-AF21-4543-94FE-A96FEBAA2B11}"/>
          </ac:spMkLst>
        </pc:spChg>
        <pc:graphicFrameChg chg="modGraphic">
          <ac:chgData name="christophe CHUECOS-FONT" userId="7e57acaa-4bc6-4644-8edc-0ecdded28594" providerId="ADAL" clId="{67DE474F-9E2C-4F68-B79B-1B1AA065A498}" dt="2021-04-02T06:13:43.998" v="2105" actId="20577"/>
          <ac:graphicFrameMkLst>
            <pc:docMk/>
            <pc:sldMk cId="2629396649" sldId="958"/>
            <ac:graphicFrameMk id="4" creationId="{DED4966F-E2DC-47D2-8406-77E6764A6DB7}"/>
          </ac:graphicFrameMkLst>
        </pc:graphicFrameChg>
      </pc:sldChg>
      <pc:sldChg chg="addSp delSp modSp new mod setBg">
        <pc:chgData name="christophe CHUECOS-FONT" userId="7e57acaa-4bc6-4644-8edc-0ecdded28594" providerId="ADAL" clId="{67DE474F-9E2C-4F68-B79B-1B1AA065A498}" dt="2021-04-02T06:17:59.959" v="2168" actId="26606"/>
        <pc:sldMkLst>
          <pc:docMk/>
          <pc:sldMk cId="745885902" sldId="959"/>
        </pc:sldMkLst>
        <pc:spChg chg="mod">
          <ac:chgData name="christophe CHUECOS-FONT" userId="7e57acaa-4bc6-4644-8edc-0ecdded28594" providerId="ADAL" clId="{67DE474F-9E2C-4F68-B79B-1B1AA065A498}" dt="2021-04-02T06:17:59.959" v="2168" actId="26606"/>
          <ac:spMkLst>
            <pc:docMk/>
            <pc:sldMk cId="745885902" sldId="959"/>
            <ac:spMk id="2" creationId="{0242D5F6-0AFB-44FC-8526-BA5666B83E25}"/>
          </ac:spMkLst>
        </pc:spChg>
        <pc:spChg chg="del">
          <ac:chgData name="christophe CHUECOS-FONT" userId="7e57acaa-4bc6-4644-8edc-0ecdded28594" providerId="ADAL" clId="{67DE474F-9E2C-4F68-B79B-1B1AA065A498}" dt="2021-04-02T06:15:54.144" v="2119"/>
          <ac:spMkLst>
            <pc:docMk/>
            <pc:sldMk cId="745885902" sldId="959"/>
            <ac:spMk id="3" creationId="{975EFAA7-0F1B-425B-9E27-00940D78FE00}"/>
          </ac:spMkLst>
        </pc:spChg>
        <pc:spChg chg="add del mod">
          <ac:chgData name="christophe CHUECOS-FONT" userId="7e57acaa-4bc6-4644-8edc-0ecdded28594" providerId="ADAL" clId="{67DE474F-9E2C-4F68-B79B-1B1AA065A498}" dt="2021-04-02T06:17:36.385" v="2166"/>
          <ac:spMkLst>
            <pc:docMk/>
            <pc:sldMk cId="745885902" sldId="959"/>
            <ac:spMk id="5" creationId="{CB087F66-A9FF-4E29-9125-3A2DFA1F9755}"/>
          </ac:spMkLst>
        </pc:spChg>
        <pc:spChg chg="add del">
          <ac:chgData name="christophe CHUECOS-FONT" userId="7e57acaa-4bc6-4644-8edc-0ecdded28594" providerId="ADAL" clId="{67DE474F-9E2C-4F68-B79B-1B1AA065A498}" dt="2021-04-02T06:17:03.017" v="2158"/>
          <ac:spMkLst>
            <pc:docMk/>
            <pc:sldMk cId="745885902" sldId="959"/>
            <ac:spMk id="6" creationId="{B95E7C71-B8B7-45A5-9C75-80A5AD81821F}"/>
          </ac:spMkLst>
        </pc:spChg>
        <pc:spChg chg="add del">
          <ac:chgData name="christophe CHUECOS-FONT" userId="7e57acaa-4bc6-4644-8edc-0ecdded28594" providerId="ADAL" clId="{67DE474F-9E2C-4F68-B79B-1B1AA065A498}" dt="2021-04-02T06:17:08.322" v="2160"/>
          <ac:spMkLst>
            <pc:docMk/>
            <pc:sldMk cId="745885902" sldId="959"/>
            <ac:spMk id="7" creationId="{D5C458E0-B1AD-4F05-8855-2132FD6BA007}"/>
          </ac:spMkLst>
        </pc:spChg>
        <pc:spChg chg="add del">
          <ac:chgData name="christophe CHUECOS-FONT" userId="7e57acaa-4bc6-4644-8edc-0ecdded28594" providerId="ADAL" clId="{67DE474F-9E2C-4F68-B79B-1B1AA065A498}" dt="2021-04-02T06:17:17.430" v="2162"/>
          <ac:spMkLst>
            <pc:docMk/>
            <pc:sldMk cId="745885902" sldId="959"/>
            <ac:spMk id="8" creationId="{B355835A-7A23-49B4-8617-087C1E079F4D}"/>
          </ac:spMkLst>
        </pc:spChg>
        <pc:spChg chg="add">
          <ac:chgData name="christophe CHUECOS-FONT" userId="7e57acaa-4bc6-4644-8edc-0ecdded28594" providerId="ADAL" clId="{67DE474F-9E2C-4F68-B79B-1B1AA065A498}" dt="2021-04-02T06:17:59.959" v="2168" actId="26606"/>
          <ac:spMkLst>
            <pc:docMk/>
            <pc:sldMk cId="745885902" sldId="959"/>
            <ac:spMk id="9" creationId="{122F9423-F4B1-45D4-8445-E9991ECCBCCF}"/>
          </ac:spMkLst>
        </pc:spChg>
        <pc:grpChg chg="add">
          <ac:chgData name="christophe CHUECOS-FONT" userId="7e57acaa-4bc6-4644-8edc-0ecdded28594" providerId="ADAL" clId="{67DE474F-9E2C-4F68-B79B-1B1AA065A498}" dt="2021-04-02T06:17:59.959" v="2168" actId="26606"/>
          <ac:grpSpMkLst>
            <pc:docMk/>
            <pc:sldMk cId="745885902" sldId="959"/>
            <ac:grpSpMk id="11" creationId="{770AE191-D2EA-45C9-A44D-830C188F74CB}"/>
          </ac:grpSpMkLst>
        </pc:grpChg>
        <pc:graphicFrameChg chg="add mod modGraphic">
          <ac:chgData name="christophe CHUECOS-FONT" userId="7e57acaa-4bc6-4644-8edc-0ecdded28594" providerId="ADAL" clId="{67DE474F-9E2C-4F68-B79B-1B1AA065A498}" dt="2021-04-02T06:17:59.959" v="2168" actId="26606"/>
          <ac:graphicFrameMkLst>
            <pc:docMk/>
            <pc:sldMk cId="745885902" sldId="959"/>
            <ac:graphicFrameMk id="4" creationId="{8308088B-60F7-43B0-9D2A-CA94DA02228C}"/>
          </ac:graphicFrameMkLst>
        </pc:graphicFrameChg>
      </pc:sldChg>
      <pc:sldChg chg="addSp delSp modSp add mod">
        <pc:chgData name="christophe CHUECOS-FONT" userId="7e57acaa-4bc6-4644-8edc-0ecdded28594" providerId="ADAL" clId="{67DE474F-9E2C-4F68-B79B-1B1AA065A498}" dt="2021-04-02T13:58:28.260" v="2241" actId="26606"/>
        <pc:sldMkLst>
          <pc:docMk/>
          <pc:sldMk cId="1431546980" sldId="960"/>
        </pc:sldMkLst>
        <pc:spChg chg="mod">
          <ac:chgData name="christophe CHUECOS-FONT" userId="7e57acaa-4bc6-4644-8edc-0ecdded28594" providerId="ADAL" clId="{67DE474F-9E2C-4F68-B79B-1B1AA065A498}" dt="2021-04-02T13:58:28.260" v="2241" actId="26606"/>
          <ac:spMkLst>
            <pc:docMk/>
            <pc:sldMk cId="1431546980" sldId="960"/>
            <ac:spMk id="2" creationId="{0242D5F6-0AFB-44FC-8526-BA5666B83E25}"/>
          </ac:spMkLst>
        </pc:spChg>
        <pc:spChg chg="add del mod">
          <ac:chgData name="christophe CHUECOS-FONT" userId="7e57acaa-4bc6-4644-8edc-0ecdded28594" providerId="ADAL" clId="{67DE474F-9E2C-4F68-B79B-1B1AA065A498}" dt="2021-04-02T13:57:16.378" v="2171"/>
          <ac:spMkLst>
            <pc:docMk/>
            <pc:sldMk cId="1431546980" sldId="960"/>
            <ac:spMk id="5" creationId="{A30703B4-A282-4391-B0A1-C0F9118AACBE}"/>
          </ac:spMkLst>
        </pc:spChg>
        <pc:spChg chg="del">
          <ac:chgData name="christophe CHUECOS-FONT" userId="7e57acaa-4bc6-4644-8edc-0ecdded28594" providerId="ADAL" clId="{67DE474F-9E2C-4F68-B79B-1B1AA065A498}" dt="2021-04-02T13:58:28.260" v="2241" actId="26606"/>
          <ac:spMkLst>
            <pc:docMk/>
            <pc:sldMk cId="1431546980" sldId="960"/>
            <ac:spMk id="9" creationId="{122F9423-F4B1-45D4-8445-E9991ECCBCCF}"/>
          </ac:spMkLst>
        </pc:spChg>
        <pc:spChg chg="add">
          <ac:chgData name="christophe CHUECOS-FONT" userId="7e57acaa-4bc6-4644-8edc-0ecdded28594" providerId="ADAL" clId="{67DE474F-9E2C-4F68-B79B-1B1AA065A498}" dt="2021-04-02T13:58:28.260" v="2241" actId="26606"/>
          <ac:spMkLst>
            <pc:docMk/>
            <pc:sldMk cId="1431546980" sldId="960"/>
            <ac:spMk id="18" creationId="{6166C6D1-23AC-49C4-BA07-238E4E9F8CEB}"/>
          </ac:spMkLst>
        </pc:spChg>
        <pc:spChg chg="add">
          <ac:chgData name="christophe CHUECOS-FONT" userId="7e57acaa-4bc6-4644-8edc-0ecdded28594" providerId="ADAL" clId="{67DE474F-9E2C-4F68-B79B-1B1AA065A498}" dt="2021-04-02T13:58:28.260" v="2241" actId="26606"/>
          <ac:spMkLst>
            <pc:docMk/>
            <pc:sldMk cId="1431546980" sldId="960"/>
            <ac:spMk id="20" creationId="{B775CD93-9DF2-48CB-9F57-1BCA9A46C7FA}"/>
          </ac:spMkLst>
        </pc:spChg>
        <pc:spChg chg="add">
          <ac:chgData name="christophe CHUECOS-FONT" userId="7e57acaa-4bc6-4644-8edc-0ecdded28594" providerId="ADAL" clId="{67DE474F-9E2C-4F68-B79B-1B1AA065A498}" dt="2021-04-02T13:58:28.260" v="2241" actId="26606"/>
          <ac:spMkLst>
            <pc:docMk/>
            <pc:sldMk cId="1431546980" sldId="960"/>
            <ac:spMk id="22" creationId="{E186B68C-84BC-4A6E-99D1-EE87483C1349}"/>
          </ac:spMkLst>
        </pc:spChg>
        <pc:spChg chg="add">
          <ac:chgData name="christophe CHUECOS-FONT" userId="7e57acaa-4bc6-4644-8edc-0ecdded28594" providerId="ADAL" clId="{67DE474F-9E2C-4F68-B79B-1B1AA065A498}" dt="2021-04-02T13:58:28.260" v="2241" actId="26606"/>
          <ac:spMkLst>
            <pc:docMk/>
            <pc:sldMk cId="1431546980" sldId="960"/>
            <ac:spMk id="24" creationId="{1C091803-41C2-48E0-9228-5148460C7479}"/>
          </ac:spMkLst>
        </pc:spChg>
        <pc:grpChg chg="del">
          <ac:chgData name="christophe CHUECOS-FONT" userId="7e57acaa-4bc6-4644-8edc-0ecdded28594" providerId="ADAL" clId="{67DE474F-9E2C-4F68-B79B-1B1AA065A498}" dt="2021-04-02T13:58:28.260" v="2241" actId="26606"/>
          <ac:grpSpMkLst>
            <pc:docMk/>
            <pc:sldMk cId="1431546980" sldId="960"/>
            <ac:grpSpMk id="11" creationId="{770AE191-D2EA-45C9-A44D-830C188F74CB}"/>
          </ac:grpSpMkLst>
        </pc:grpChg>
        <pc:graphicFrameChg chg="del">
          <ac:chgData name="christophe CHUECOS-FONT" userId="7e57acaa-4bc6-4644-8edc-0ecdded28594" providerId="ADAL" clId="{67DE474F-9E2C-4F68-B79B-1B1AA065A498}" dt="2021-04-02T13:57:03.131" v="2170" actId="21"/>
          <ac:graphicFrameMkLst>
            <pc:docMk/>
            <pc:sldMk cId="1431546980" sldId="960"/>
            <ac:graphicFrameMk id="4" creationId="{8308088B-60F7-43B0-9D2A-CA94DA02228C}"/>
          </ac:graphicFrameMkLst>
        </pc:graphicFrameChg>
        <pc:graphicFrameChg chg="add mod modGraphic">
          <ac:chgData name="christophe CHUECOS-FONT" userId="7e57acaa-4bc6-4644-8edc-0ecdded28594" providerId="ADAL" clId="{67DE474F-9E2C-4F68-B79B-1B1AA065A498}" dt="2021-04-02T13:58:28.260" v="2241" actId="26606"/>
          <ac:graphicFrameMkLst>
            <pc:docMk/>
            <pc:sldMk cId="1431546980" sldId="960"/>
            <ac:graphicFrameMk id="6" creationId="{3CACB960-77B0-4BE9-9BB2-4AB65CF80FE0}"/>
          </ac:graphicFrameMkLst>
        </pc:graphicFrameChg>
      </pc:sldChg>
      <pc:sldChg chg="addSp delSp modSp new mod setBg">
        <pc:chgData name="christophe CHUECOS-FONT" userId="7e57acaa-4bc6-4644-8edc-0ecdded28594" providerId="ADAL" clId="{67DE474F-9E2C-4F68-B79B-1B1AA065A498}" dt="2021-04-02T13:59:25.803" v="2274" actId="26606"/>
        <pc:sldMkLst>
          <pc:docMk/>
          <pc:sldMk cId="2870954091" sldId="961"/>
        </pc:sldMkLst>
        <pc:spChg chg="mod">
          <ac:chgData name="christophe CHUECOS-FONT" userId="7e57acaa-4bc6-4644-8edc-0ecdded28594" providerId="ADAL" clId="{67DE474F-9E2C-4F68-B79B-1B1AA065A498}" dt="2021-04-02T13:59:25.803" v="2274" actId="26606"/>
          <ac:spMkLst>
            <pc:docMk/>
            <pc:sldMk cId="2870954091" sldId="961"/>
            <ac:spMk id="2" creationId="{09870F72-8149-444B-B043-4676BF76B184}"/>
          </ac:spMkLst>
        </pc:spChg>
        <pc:spChg chg="del">
          <ac:chgData name="christophe CHUECOS-FONT" userId="7e57acaa-4bc6-4644-8edc-0ecdded28594" providerId="ADAL" clId="{67DE474F-9E2C-4F68-B79B-1B1AA065A498}" dt="2021-04-02T13:58:50.034" v="2243"/>
          <ac:spMkLst>
            <pc:docMk/>
            <pc:sldMk cId="2870954091" sldId="961"/>
            <ac:spMk id="3" creationId="{8C55D6F0-D045-4D03-87F0-416268E7F677}"/>
          </ac:spMkLst>
        </pc:spChg>
        <pc:spChg chg="add mod">
          <ac:chgData name="christophe CHUECOS-FONT" userId="7e57acaa-4bc6-4644-8edc-0ecdded28594" providerId="ADAL" clId="{67DE474F-9E2C-4F68-B79B-1B1AA065A498}" dt="2021-04-02T13:59:25.803" v="2274" actId="26606"/>
          <ac:spMkLst>
            <pc:docMk/>
            <pc:sldMk cId="2870954091" sldId="961"/>
            <ac:spMk id="4" creationId="{9C941D5F-41FA-425D-929C-99356FD83A12}"/>
          </ac:spMkLst>
        </pc:spChg>
        <pc:spChg chg="add">
          <ac:chgData name="christophe CHUECOS-FONT" userId="7e57acaa-4bc6-4644-8edc-0ecdded28594" providerId="ADAL" clId="{67DE474F-9E2C-4F68-B79B-1B1AA065A498}" dt="2021-04-02T13:59:25.803" v="2274" actId="26606"/>
          <ac:spMkLst>
            <pc:docMk/>
            <pc:sldMk cId="2870954091" sldId="961"/>
            <ac:spMk id="10" creationId="{2C61293E-6EBE-43EF-A52C-9BEBFD7679D4}"/>
          </ac:spMkLst>
        </pc:spChg>
        <pc:spChg chg="add">
          <ac:chgData name="christophe CHUECOS-FONT" userId="7e57acaa-4bc6-4644-8edc-0ecdded28594" providerId="ADAL" clId="{67DE474F-9E2C-4F68-B79B-1B1AA065A498}" dt="2021-04-02T13:59:25.803" v="2274" actId="26606"/>
          <ac:spMkLst>
            <pc:docMk/>
            <pc:sldMk cId="2870954091" sldId="961"/>
            <ac:spMk id="12" creationId="{21540236-BFD5-4A9D-8840-4703E7F76825}"/>
          </ac:spMkLst>
        </pc:spChg>
        <pc:picChg chg="add">
          <ac:chgData name="christophe CHUECOS-FONT" userId="7e57acaa-4bc6-4644-8edc-0ecdded28594" providerId="ADAL" clId="{67DE474F-9E2C-4F68-B79B-1B1AA065A498}" dt="2021-04-02T13:59:25.803" v="2274" actId="26606"/>
          <ac:picMkLst>
            <pc:docMk/>
            <pc:sldMk cId="2870954091" sldId="961"/>
            <ac:picMk id="6" creationId="{8301769A-1886-4032-BCC1-193CFF523D1D}"/>
          </ac:picMkLst>
        </pc:picChg>
      </pc:sldChg>
      <pc:sldChg chg="addSp modSp new mod setBg">
        <pc:chgData name="christophe CHUECOS-FONT" userId="7e57acaa-4bc6-4644-8edc-0ecdded28594" providerId="ADAL" clId="{67DE474F-9E2C-4F68-B79B-1B1AA065A498}" dt="2021-04-02T14:00:41.196" v="2317" actId="26606"/>
        <pc:sldMkLst>
          <pc:docMk/>
          <pc:sldMk cId="924349727" sldId="962"/>
        </pc:sldMkLst>
        <pc:spChg chg="mod">
          <ac:chgData name="christophe CHUECOS-FONT" userId="7e57acaa-4bc6-4644-8edc-0ecdded28594" providerId="ADAL" clId="{67DE474F-9E2C-4F68-B79B-1B1AA065A498}" dt="2021-04-02T14:00:41.196" v="2317" actId="26606"/>
          <ac:spMkLst>
            <pc:docMk/>
            <pc:sldMk cId="924349727" sldId="962"/>
            <ac:spMk id="2" creationId="{519B23E5-D825-4652-9964-7669849F40BD}"/>
          </ac:spMkLst>
        </pc:spChg>
        <pc:spChg chg="mod">
          <ac:chgData name="christophe CHUECOS-FONT" userId="7e57acaa-4bc6-4644-8edc-0ecdded28594" providerId="ADAL" clId="{67DE474F-9E2C-4F68-B79B-1B1AA065A498}" dt="2021-04-02T14:00:41.196" v="2317" actId="26606"/>
          <ac:spMkLst>
            <pc:docMk/>
            <pc:sldMk cId="924349727" sldId="962"/>
            <ac:spMk id="3" creationId="{4AFD4E8E-9F31-4476-A954-73266A937D75}"/>
          </ac:spMkLst>
        </pc:spChg>
        <pc:spChg chg="add">
          <ac:chgData name="christophe CHUECOS-FONT" userId="7e57acaa-4bc6-4644-8edc-0ecdded28594" providerId="ADAL" clId="{67DE474F-9E2C-4F68-B79B-1B1AA065A498}" dt="2021-04-02T14:00:41.196" v="2317" actId="26606"/>
          <ac:spMkLst>
            <pc:docMk/>
            <pc:sldMk cId="924349727" sldId="962"/>
            <ac:spMk id="8" creationId="{100EDD19-6802-4EC3-95CE-CFFAB042CFD6}"/>
          </ac:spMkLst>
        </pc:spChg>
        <pc:spChg chg="add">
          <ac:chgData name="christophe CHUECOS-FONT" userId="7e57acaa-4bc6-4644-8edc-0ecdded28594" providerId="ADAL" clId="{67DE474F-9E2C-4F68-B79B-1B1AA065A498}" dt="2021-04-02T14:00:41.196" v="2317" actId="26606"/>
          <ac:spMkLst>
            <pc:docMk/>
            <pc:sldMk cId="924349727" sldId="962"/>
            <ac:spMk id="10" creationId="{DB17E863-922E-4C26-BD64-E8FD41D28661}"/>
          </ac:spMkLst>
        </pc:spChg>
      </pc:sldChg>
      <pc:sldChg chg="addSp modSp add mod setBg">
        <pc:chgData name="christophe CHUECOS-FONT" userId="7e57acaa-4bc6-4644-8edc-0ecdded28594" providerId="ADAL" clId="{67DE474F-9E2C-4F68-B79B-1B1AA065A498}" dt="2021-04-02T14:00:48.624" v="2318" actId="26606"/>
        <pc:sldMkLst>
          <pc:docMk/>
          <pc:sldMk cId="3755857740" sldId="963"/>
        </pc:sldMkLst>
        <pc:spChg chg="mod">
          <ac:chgData name="christophe CHUECOS-FONT" userId="7e57acaa-4bc6-4644-8edc-0ecdded28594" providerId="ADAL" clId="{67DE474F-9E2C-4F68-B79B-1B1AA065A498}" dt="2021-04-02T14:00:48.624" v="2318" actId="26606"/>
          <ac:spMkLst>
            <pc:docMk/>
            <pc:sldMk cId="3755857740" sldId="963"/>
            <ac:spMk id="2" creationId="{519B23E5-D825-4652-9964-7669849F40BD}"/>
          </ac:spMkLst>
        </pc:spChg>
        <pc:spChg chg="mod">
          <ac:chgData name="christophe CHUECOS-FONT" userId="7e57acaa-4bc6-4644-8edc-0ecdded28594" providerId="ADAL" clId="{67DE474F-9E2C-4F68-B79B-1B1AA065A498}" dt="2021-04-02T14:00:48.624" v="2318" actId="26606"/>
          <ac:spMkLst>
            <pc:docMk/>
            <pc:sldMk cId="3755857740" sldId="963"/>
            <ac:spMk id="3" creationId="{4AFD4E8E-9F31-4476-A954-73266A937D75}"/>
          </ac:spMkLst>
        </pc:spChg>
        <pc:spChg chg="add">
          <ac:chgData name="christophe CHUECOS-FONT" userId="7e57acaa-4bc6-4644-8edc-0ecdded28594" providerId="ADAL" clId="{67DE474F-9E2C-4F68-B79B-1B1AA065A498}" dt="2021-04-02T14:00:48.624" v="2318" actId="26606"/>
          <ac:spMkLst>
            <pc:docMk/>
            <pc:sldMk cId="3755857740" sldId="963"/>
            <ac:spMk id="8" creationId="{1BB867FF-FC45-48F7-8104-F89BE54909F1}"/>
          </ac:spMkLst>
        </pc:spChg>
        <pc:spChg chg="add">
          <ac:chgData name="christophe CHUECOS-FONT" userId="7e57acaa-4bc6-4644-8edc-0ecdded28594" providerId="ADAL" clId="{67DE474F-9E2C-4F68-B79B-1B1AA065A498}" dt="2021-04-02T14:00:48.624" v="2318" actId="26606"/>
          <ac:spMkLst>
            <pc:docMk/>
            <pc:sldMk cId="3755857740" sldId="963"/>
            <ac:spMk id="10" creationId="{8BB56887-D0D5-4F0C-9E19-7247EB83C8B7}"/>
          </ac:spMkLst>
        </pc:spChg>
        <pc:spChg chg="add">
          <ac:chgData name="christophe CHUECOS-FONT" userId="7e57acaa-4bc6-4644-8edc-0ecdded28594" providerId="ADAL" clId="{67DE474F-9E2C-4F68-B79B-1B1AA065A498}" dt="2021-04-02T14:00:48.624" v="2318" actId="26606"/>
          <ac:spMkLst>
            <pc:docMk/>
            <pc:sldMk cId="3755857740" sldId="963"/>
            <ac:spMk id="12" creationId="{081E4A58-353D-44AE-B2FC-2A74E2E400F7}"/>
          </ac:spMkLst>
        </pc:spChg>
      </pc:sldChg>
      <pc:sldChg chg="modSp new mod">
        <pc:chgData name="christophe CHUECOS-FONT" userId="7e57acaa-4bc6-4644-8edc-0ecdded28594" providerId="ADAL" clId="{67DE474F-9E2C-4F68-B79B-1B1AA065A498}" dt="2021-04-02T14:02:06.609" v="2349" actId="20577"/>
        <pc:sldMkLst>
          <pc:docMk/>
          <pc:sldMk cId="952143569" sldId="964"/>
        </pc:sldMkLst>
        <pc:spChg chg="mod">
          <ac:chgData name="christophe CHUECOS-FONT" userId="7e57acaa-4bc6-4644-8edc-0ecdded28594" providerId="ADAL" clId="{67DE474F-9E2C-4F68-B79B-1B1AA065A498}" dt="2021-04-02T14:02:06.609" v="2349" actId="20577"/>
          <ac:spMkLst>
            <pc:docMk/>
            <pc:sldMk cId="952143569" sldId="964"/>
            <ac:spMk id="2" creationId="{2D4F0E29-078B-4332-A192-DD74EA0A0044}"/>
          </ac:spMkLst>
        </pc:spChg>
        <pc:spChg chg="mod">
          <ac:chgData name="christophe CHUECOS-FONT" userId="7e57acaa-4bc6-4644-8edc-0ecdded28594" providerId="ADAL" clId="{67DE474F-9E2C-4F68-B79B-1B1AA065A498}" dt="2021-04-02T14:01:55.498" v="2326" actId="6549"/>
          <ac:spMkLst>
            <pc:docMk/>
            <pc:sldMk cId="952143569" sldId="964"/>
            <ac:spMk id="3" creationId="{4EC49F0B-85B3-42AF-A36B-BAB73C3095F7}"/>
          </ac:spMkLst>
        </pc:spChg>
      </pc:sldChg>
      <pc:sldChg chg="addSp delSp modSp new mod">
        <pc:chgData name="christophe CHUECOS-FONT" userId="7e57acaa-4bc6-4644-8edc-0ecdded28594" providerId="ADAL" clId="{67DE474F-9E2C-4F68-B79B-1B1AA065A498}" dt="2021-04-02T14:02:50.990" v="2374" actId="6549"/>
        <pc:sldMkLst>
          <pc:docMk/>
          <pc:sldMk cId="1037609881" sldId="965"/>
        </pc:sldMkLst>
        <pc:spChg chg="mod">
          <ac:chgData name="christophe CHUECOS-FONT" userId="7e57acaa-4bc6-4644-8edc-0ecdded28594" providerId="ADAL" clId="{67DE474F-9E2C-4F68-B79B-1B1AA065A498}" dt="2021-04-02T14:02:50.990" v="2374" actId="6549"/>
          <ac:spMkLst>
            <pc:docMk/>
            <pc:sldMk cId="1037609881" sldId="965"/>
            <ac:spMk id="2" creationId="{FBFDF166-4625-42C0-BEA4-E1440D675384}"/>
          </ac:spMkLst>
        </pc:spChg>
        <pc:spChg chg="del">
          <ac:chgData name="christophe CHUECOS-FONT" userId="7e57acaa-4bc6-4644-8edc-0ecdded28594" providerId="ADAL" clId="{67DE474F-9E2C-4F68-B79B-1B1AA065A498}" dt="2021-04-02T14:02:32.456" v="2353"/>
          <ac:spMkLst>
            <pc:docMk/>
            <pc:sldMk cId="1037609881" sldId="965"/>
            <ac:spMk id="3" creationId="{1334AB6B-9241-43BC-B6F0-64BDB1312EBA}"/>
          </ac:spMkLst>
        </pc:spChg>
        <pc:spChg chg="add del">
          <ac:chgData name="christophe CHUECOS-FONT" userId="7e57acaa-4bc6-4644-8edc-0ecdded28594" providerId="ADAL" clId="{67DE474F-9E2C-4F68-B79B-1B1AA065A498}" dt="2021-04-02T14:02:27.908" v="2352"/>
          <ac:spMkLst>
            <pc:docMk/>
            <pc:sldMk cId="1037609881" sldId="965"/>
            <ac:spMk id="4" creationId="{7EE12AA1-8B9D-4283-BAB6-81E2F197EEB7}"/>
          </ac:spMkLst>
        </pc:spChg>
        <pc:spChg chg="add del">
          <ac:chgData name="christophe CHUECOS-FONT" userId="7e57acaa-4bc6-4644-8edc-0ecdded28594" providerId="ADAL" clId="{67DE474F-9E2C-4F68-B79B-1B1AA065A498}" dt="2021-04-02T14:02:27.908" v="2352"/>
          <ac:spMkLst>
            <pc:docMk/>
            <pc:sldMk cId="1037609881" sldId="965"/>
            <ac:spMk id="6" creationId="{E3E5F097-4E70-4140-AF2D-840EE7D2B7CF}"/>
          </ac:spMkLst>
        </pc:spChg>
        <pc:graphicFrameChg chg="add del">
          <ac:chgData name="christophe CHUECOS-FONT" userId="7e57acaa-4bc6-4644-8edc-0ecdded28594" providerId="ADAL" clId="{67DE474F-9E2C-4F68-B79B-1B1AA065A498}" dt="2021-04-02T14:02:27.908" v="2352"/>
          <ac:graphicFrameMkLst>
            <pc:docMk/>
            <pc:sldMk cId="1037609881" sldId="965"/>
            <ac:graphicFrameMk id="5" creationId="{99FA94AE-BA37-4FF9-A5AF-446D82560147}"/>
          </ac:graphicFrameMkLst>
        </pc:graphicFrameChg>
        <pc:picChg chg="add mod">
          <ac:chgData name="christophe CHUECOS-FONT" userId="7e57acaa-4bc6-4644-8edc-0ecdded28594" providerId="ADAL" clId="{67DE474F-9E2C-4F68-B79B-1B1AA065A498}" dt="2021-04-02T14:02:43.058" v="2357" actId="14100"/>
          <ac:picMkLst>
            <pc:docMk/>
            <pc:sldMk cId="1037609881" sldId="965"/>
            <ac:picMk id="7" creationId="{1AB51F4B-15F3-41C6-94E6-2484E618470D}"/>
          </ac:picMkLst>
        </pc:picChg>
      </pc:sldChg>
      <pc:sldChg chg="addSp delSp modSp new mod setBg">
        <pc:chgData name="christophe CHUECOS-FONT" userId="7e57acaa-4bc6-4644-8edc-0ecdded28594" providerId="ADAL" clId="{67DE474F-9E2C-4F68-B79B-1B1AA065A498}" dt="2021-04-02T14:31:18.316" v="2722" actId="26606"/>
        <pc:sldMkLst>
          <pc:docMk/>
          <pc:sldMk cId="198804222" sldId="966"/>
        </pc:sldMkLst>
        <pc:spChg chg="mod">
          <ac:chgData name="christophe CHUECOS-FONT" userId="7e57acaa-4bc6-4644-8edc-0ecdded28594" providerId="ADAL" clId="{67DE474F-9E2C-4F68-B79B-1B1AA065A498}" dt="2021-04-02T14:31:18.316" v="2722" actId="26606"/>
          <ac:spMkLst>
            <pc:docMk/>
            <pc:sldMk cId="198804222" sldId="966"/>
            <ac:spMk id="2" creationId="{A2E8ADB1-B7C1-4B39-813B-0BDD34F5B405}"/>
          </ac:spMkLst>
        </pc:spChg>
        <pc:spChg chg="del mod">
          <ac:chgData name="christophe CHUECOS-FONT" userId="7e57acaa-4bc6-4644-8edc-0ecdded28594" providerId="ADAL" clId="{67DE474F-9E2C-4F68-B79B-1B1AA065A498}" dt="2021-04-02T14:31:18.316" v="2722" actId="26606"/>
          <ac:spMkLst>
            <pc:docMk/>
            <pc:sldMk cId="198804222" sldId="966"/>
            <ac:spMk id="3" creationId="{B6847A09-036D-4586-B446-D9AB81A8DE3F}"/>
          </ac:spMkLst>
        </pc:spChg>
        <pc:spChg chg="add">
          <ac:chgData name="christophe CHUECOS-FONT" userId="7e57acaa-4bc6-4644-8edc-0ecdded28594" providerId="ADAL" clId="{67DE474F-9E2C-4F68-B79B-1B1AA065A498}" dt="2021-04-02T14:31:18.316" v="2722" actId="26606"/>
          <ac:spMkLst>
            <pc:docMk/>
            <pc:sldMk cId="198804222" sldId="966"/>
            <ac:spMk id="9" creationId="{68575C10-8187-4AC4-AD72-C754EAFD2867}"/>
          </ac:spMkLst>
        </pc:spChg>
        <pc:graphicFrameChg chg="add">
          <ac:chgData name="christophe CHUECOS-FONT" userId="7e57acaa-4bc6-4644-8edc-0ecdded28594" providerId="ADAL" clId="{67DE474F-9E2C-4F68-B79B-1B1AA065A498}" dt="2021-04-02T14:31:18.316" v="2722" actId="26606"/>
          <ac:graphicFrameMkLst>
            <pc:docMk/>
            <pc:sldMk cId="198804222" sldId="966"/>
            <ac:graphicFrameMk id="5" creationId="{6DFD2393-4D0C-41E4-8C83-15525D62C1EF}"/>
          </ac:graphicFrameMkLst>
        </pc:graphicFrameChg>
        <pc:cxnChg chg="add">
          <ac:chgData name="christophe CHUECOS-FONT" userId="7e57acaa-4bc6-4644-8edc-0ecdded28594" providerId="ADAL" clId="{67DE474F-9E2C-4F68-B79B-1B1AA065A498}" dt="2021-04-02T14:31:18.316" v="2722" actId="26606"/>
          <ac:cxnSpMkLst>
            <pc:docMk/>
            <pc:sldMk cId="198804222" sldId="966"/>
            <ac:cxnSpMk id="11" creationId="{74E776C9-ED67-41B7-B3A3-4DF76EF3ACEE}"/>
          </ac:cxnSpMkLst>
        </pc:cxnChg>
      </pc:sldChg>
      <pc:sldChg chg="addSp delSp modSp new mod setBg">
        <pc:chgData name="christophe CHUECOS-FONT" userId="7e57acaa-4bc6-4644-8edc-0ecdded28594" providerId="ADAL" clId="{67DE474F-9E2C-4F68-B79B-1B1AA065A498}" dt="2021-04-02T14:31:24.104" v="2723" actId="26606"/>
        <pc:sldMkLst>
          <pc:docMk/>
          <pc:sldMk cId="3218206374" sldId="967"/>
        </pc:sldMkLst>
        <pc:spChg chg="mod">
          <ac:chgData name="christophe CHUECOS-FONT" userId="7e57acaa-4bc6-4644-8edc-0ecdded28594" providerId="ADAL" clId="{67DE474F-9E2C-4F68-B79B-1B1AA065A498}" dt="2021-04-02T14:31:24.104" v="2723" actId="26606"/>
          <ac:spMkLst>
            <pc:docMk/>
            <pc:sldMk cId="3218206374" sldId="967"/>
            <ac:spMk id="2" creationId="{857D98BB-790E-4021-AA5D-57B0166491A7}"/>
          </ac:spMkLst>
        </pc:spChg>
        <pc:spChg chg="del mod">
          <ac:chgData name="christophe CHUECOS-FONT" userId="7e57acaa-4bc6-4644-8edc-0ecdded28594" providerId="ADAL" clId="{67DE474F-9E2C-4F68-B79B-1B1AA065A498}" dt="2021-04-02T14:31:24.104" v="2723" actId="26606"/>
          <ac:spMkLst>
            <pc:docMk/>
            <pc:sldMk cId="3218206374" sldId="967"/>
            <ac:spMk id="3" creationId="{23300C9A-B8F6-4087-82CB-B1B2DD4DA1E3}"/>
          </ac:spMkLst>
        </pc:spChg>
        <pc:spChg chg="add">
          <ac:chgData name="christophe CHUECOS-FONT" userId="7e57acaa-4bc6-4644-8edc-0ecdded28594" providerId="ADAL" clId="{67DE474F-9E2C-4F68-B79B-1B1AA065A498}" dt="2021-04-02T14:31:24.104" v="2723" actId="26606"/>
          <ac:spMkLst>
            <pc:docMk/>
            <pc:sldMk cId="3218206374" sldId="967"/>
            <ac:spMk id="10" creationId="{86C7B4A1-154A-4DF0-AC46-F88D75A2E0FD}"/>
          </ac:spMkLst>
        </pc:spChg>
        <pc:graphicFrameChg chg="add">
          <ac:chgData name="christophe CHUECOS-FONT" userId="7e57acaa-4bc6-4644-8edc-0ecdded28594" providerId="ADAL" clId="{67DE474F-9E2C-4F68-B79B-1B1AA065A498}" dt="2021-04-02T14:31:24.104" v="2723" actId="26606"/>
          <ac:graphicFrameMkLst>
            <pc:docMk/>
            <pc:sldMk cId="3218206374" sldId="967"/>
            <ac:graphicFrameMk id="5" creationId="{617803DD-FD6B-4314-9E7E-DF6226462813}"/>
          </ac:graphicFrameMkLst>
        </pc:graphicFrameChg>
        <pc:picChg chg="add">
          <ac:chgData name="christophe CHUECOS-FONT" userId="7e57acaa-4bc6-4644-8edc-0ecdded28594" providerId="ADAL" clId="{67DE474F-9E2C-4F68-B79B-1B1AA065A498}" dt="2021-04-02T14:31:24.104" v="2723" actId="26606"/>
          <ac:picMkLst>
            <pc:docMk/>
            <pc:sldMk cId="3218206374" sldId="967"/>
            <ac:picMk id="6" creationId="{DAA6C58C-5954-4FA8-A56A-A377BC1EE83D}"/>
          </ac:picMkLst>
        </pc:picChg>
      </pc:sldChg>
      <pc:sldChg chg="addSp modSp add mod setBg">
        <pc:chgData name="christophe CHUECOS-FONT" userId="7e57acaa-4bc6-4644-8edc-0ecdded28594" providerId="ADAL" clId="{67DE474F-9E2C-4F68-B79B-1B1AA065A498}" dt="2021-04-02T14:31:29.658" v="2724" actId="26606"/>
        <pc:sldMkLst>
          <pc:docMk/>
          <pc:sldMk cId="480113765" sldId="968"/>
        </pc:sldMkLst>
        <pc:spChg chg="mod">
          <ac:chgData name="christophe CHUECOS-FONT" userId="7e57acaa-4bc6-4644-8edc-0ecdded28594" providerId="ADAL" clId="{67DE474F-9E2C-4F68-B79B-1B1AA065A498}" dt="2021-04-02T14:31:29.658" v="2724" actId="26606"/>
          <ac:spMkLst>
            <pc:docMk/>
            <pc:sldMk cId="480113765" sldId="968"/>
            <ac:spMk id="2" creationId="{857D98BB-790E-4021-AA5D-57B0166491A7}"/>
          </ac:spMkLst>
        </pc:spChg>
        <pc:spChg chg="mod">
          <ac:chgData name="christophe CHUECOS-FONT" userId="7e57acaa-4bc6-4644-8edc-0ecdded28594" providerId="ADAL" clId="{67DE474F-9E2C-4F68-B79B-1B1AA065A498}" dt="2021-04-02T14:31:29.658" v="2724" actId="26606"/>
          <ac:spMkLst>
            <pc:docMk/>
            <pc:sldMk cId="480113765" sldId="968"/>
            <ac:spMk id="3" creationId="{23300C9A-B8F6-4087-82CB-B1B2DD4DA1E3}"/>
          </ac:spMkLst>
        </pc:spChg>
        <pc:spChg chg="add">
          <ac:chgData name="christophe CHUECOS-FONT" userId="7e57acaa-4bc6-4644-8edc-0ecdded28594" providerId="ADAL" clId="{67DE474F-9E2C-4F68-B79B-1B1AA065A498}" dt="2021-04-02T14:31:29.658" v="2724" actId="26606"/>
          <ac:spMkLst>
            <pc:docMk/>
            <pc:sldMk cId="480113765" sldId="968"/>
            <ac:spMk id="8" creationId="{1B15ED52-F352-441B-82BF-E0EA34836D08}"/>
          </ac:spMkLst>
        </pc:spChg>
        <pc:spChg chg="add">
          <ac:chgData name="christophe CHUECOS-FONT" userId="7e57acaa-4bc6-4644-8edc-0ecdded28594" providerId="ADAL" clId="{67DE474F-9E2C-4F68-B79B-1B1AA065A498}" dt="2021-04-02T14:31:29.658" v="2724" actId="26606"/>
          <ac:spMkLst>
            <pc:docMk/>
            <pc:sldMk cId="480113765" sldId="968"/>
            <ac:spMk id="10" creationId="{3B2E3793-BFE6-45A2-9B7B-E18844431C99}"/>
          </ac:spMkLst>
        </pc:spChg>
        <pc:spChg chg="add">
          <ac:chgData name="christophe CHUECOS-FONT" userId="7e57acaa-4bc6-4644-8edc-0ecdded28594" providerId="ADAL" clId="{67DE474F-9E2C-4F68-B79B-1B1AA065A498}" dt="2021-04-02T14:31:29.658" v="2724" actId="26606"/>
          <ac:spMkLst>
            <pc:docMk/>
            <pc:sldMk cId="480113765" sldId="968"/>
            <ac:spMk id="12" creationId="{BC4C4868-CB8F-4AF9-9CDB-8108F2C19B67}"/>
          </ac:spMkLst>
        </pc:spChg>
        <pc:spChg chg="add">
          <ac:chgData name="christophe CHUECOS-FONT" userId="7e57acaa-4bc6-4644-8edc-0ecdded28594" providerId="ADAL" clId="{67DE474F-9E2C-4F68-B79B-1B1AA065A498}" dt="2021-04-02T14:31:29.658" v="2724" actId="26606"/>
          <ac:spMkLst>
            <pc:docMk/>
            <pc:sldMk cId="480113765" sldId="968"/>
            <ac:spMk id="14" creationId="{375E0459-6403-40CD-989D-56A4407CA12E}"/>
          </ac:spMkLst>
        </pc:spChg>
        <pc:spChg chg="add">
          <ac:chgData name="christophe CHUECOS-FONT" userId="7e57acaa-4bc6-4644-8edc-0ecdded28594" providerId="ADAL" clId="{67DE474F-9E2C-4F68-B79B-1B1AA065A498}" dt="2021-04-02T14:31:29.658" v="2724" actId="26606"/>
          <ac:spMkLst>
            <pc:docMk/>
            <pc:sldMk cId="480113765" sldId="968"/>
            <ac:spMk id="16" creationId="{53E5B1A8-3AC9-4BD1-9BBC-78CA94F2D1BA}"/>
          </ac:spMkLst>
        </pc:spChg>
      </pc:sldChg>
      <pc:sldChg chg="addSp modSp new mod setBg">
        <pc:chgData name="christophe CHUECOS-FONT" userId="7e57acaa-4bc6-4644-8edc-0ecdded28594" providerId="ADAL" clId="{67DE474F-9E2C-4F68-B79B-1B1AA065A498}" dt="2021-04-02T14:31:42.635" v="2726" actId="14100"/>
        <pc:sldMkLst>
          <pc:docMk/>
          <pc:sldMk cId="1576801385" sldId="969"/>
        </pc:sldMkLst>
        <pc:spChg chg="mod">
          <ac:chgData name="christophe CHUECOS-FONT" userId="7e57acaa-4bc6-4644-8edc-0ecdded28594" providerId="ADAL" clId="{67DE474F-9E2C-4F68-B79B-1B1AA065A498}" dt="2021-04-02T14:31:36.939" v="2725" actId="26606"/>
          <ac:spMkLst>
            <pc:docMk/>
            <pc:sldMk cId="1576801385" sldId="969"/>
            <ac:spMk id="2" creationId="{53B7089E-8512-4AD3-AE5A-3C458ED09861}"/>
          </ac:spMkLst>
        </pc:spChg>
        <pc:spChg chg="mod">
          <ac:chgData name="christophe CHUECOS-FONT" userId="7e57acaa-4bc6-4644-8edc-0ecdded28594" providerId="ADAL" clId="{67DE474F-9E2C-4F68-B79B-1B1AA065A498}" dt="2021-04-02T14:31:42.635" v="2726" actId="14100"/>
          <ac:spMkLst>
            <pc:docMk/>
            <pc:sldMk cId="1576801385" sldId="969"/>
            <ac:spMk id="3" creationId="{B26CD205-1827-4FC6-A33A-72F9F6006431}"/>
          </ac:spMkLst>
        </pc:spChg>
        <pc:spChg chg="add">
          <ac:chgData name="christophe CHUECOS-FONT" userId="7e57acaa-4bc6-4644-8edc-0ecdded28594" providerId="ADAL" clId="{67DE474F-9E2C-4F68-B79B-1B1AA065A498}" dt="2021-04-02T14:31:36.939" v="2725" actId="26606"/>
          <ac:spMkLst>
            <pc:docMk/>
            <pc:sldMk cId="1576801385" sldId="969"/>
            <ac:spMk id="8" creationId="{17718681-A12E-49D6-9925-DD7C68176D61}"/>
          </ac:spMkLst>
        </pc:spChg>
        <pc:spChg chg="add">
          <ac:chgData name="christophe CHUECOS-FONT" userId="7e57acaa-4bc6-4644-8edc-0ecdded28594" providerId="ADAL" clId="{67DE474F-9E2C-4F68-B79B-1B1AA065A498}" dt="2021-04-02T14:31:36.939" v="2725" actId="26606"/>
          <ac:spMkLst>
            <pc:docMk/>
            <pc:sldMk cId="1576801385" sldId="969"/>
            <ac:spMk id="10" creationId="{FBD77573-9EF2-4C35-8285-A1CF6FBB0EA5}"/>
          </ac:spMkLst>
        </pc:spChg>
      </pc:sldChg>
      <pc:sldChg chg="modSp add mod">
        <pc:chgData name="christophe CHUECOS-FONT" userId="7e57acaa-4bc6-4644-8edc-0ecdded28594" providerId="ADAL" clId="{67DE474F-9E2C-4F68-B79B-1B1AA065A498}" dt="2021-04-02T14:16:41.991" v="2684" actId="27636"/>
        <pc:sldMkLst>
          <pc:docMk/>
          <pc:sldMk cId="1602978590" sldId="970"/>
        </pc:sldMkLst>
        <pc:spChg chg="mod">
          <ac:chgData name="christophe CHUECOS-FONT" userId="7e57acaa-4bc6-4644-8edc-0ecdded28594" providerId="ADAL" clId="{67DE474F-9E2C-4F68-B79B-1B1AA065A498}" dt="2021-04-02T14:16:41.991" v="2684" actId="27636"/>
          <ac:spMkLst>
            <pc:docMk/>
            <pc:sldMk cId="1602978590" sldId="970"/>
            <ac:spMk id="3" creationId="{B26CD205-1827-4FC6-A33A-72F9F6006431}"/>
          </ac:spMkLst>
        </pc:spChg>
      </pc:sldChg>
      <pc:sldChg chg="addSp delSp modSp new mod">
        <pc:chgData name="christophe CHUECOS-FONT" userId="7e57acaa-4bc6-4644-8edc-0ecdded28594" providerId="ADAL" clId="{67DE474F-9E2C-4F68-B79B-1B1AA065A498}" dt="2021-04-02T14:14:57.985" v="2587" actId="14100"/>
        <pc:sldMkLst>
          <pc:docMk/>
          <pc:sldMk cId="3656254179" sldId="971"/>
        </pc:sldMkLst>
        <pc:spChg chg="mod">
          <ac:chgData name="christophe CHUECOS-FONT" userId="7e57acaa-4bc6-4644-8edc-0ecdded28594" providerId="ADAL" clId="{67DE474F-9E2C-4F68-B79B-1B1AA065A498}" dt="2021-04-02T14:07:42.761" v="2525" actId="20577"/>
          <ac:spMkLst>
            <pc:docMk/>
            <pc:sldMk cId="3656254179" sldId="971"/>
            <ac:spMk id="2" creationId="{168238B8-C0BE-40C6-8944-21A2A8E27CC3}"/>
          </ac:spMkLst>
        </pc:spChg>
        <pc:spChg chg="del">
          <ac:chgData name="christophe CHUECOS-FONT" userId="7e57acaa-4bc6-4644-8edc-0ecdded28594" providerId="ADAL" clId="{67DE474F-9E2C-4F68-B79B-1B1AA065A498}" dt="2021-04-02T14:13:44.864" v="2527" actId="478"/>
          <ac:spMkLst>
            <pc:docMk/>
            <pc:sldMk cId="3656254179" sldId="971"/>
            <ac:spMk id="3" creationId="{A9C61728-FFC0-441E-8700-AFD84CC9912B}"/>
          </ac:spMkLst>
        </pc:spChg>
        <pc:spChg chg="add del mod">
          <ac:chgData name="christophe CHUECOS-FONT" userId="7e57acaa-4bc6-4644-8edc-0ecdded28594" providerId="ADAL" clId="{67DE474F-9E2C-4F68-B79B-1B1AA065A498}" dt="2021-04-02T14:14:32.368" v="2583" actId="478"/>
          <ac:spMkLst>
            <pc:docMk/>
            <pc:sldMk cId="3656254179" sldId="971"/>
            <ac:spMk id="6" creationId="{B83F2766-10EE-4023-8D84-8CC27B6F455A}"/>
          </ac:spMkLst>
        </pc:spChg>
        <pc:spChg chg="add del mod">
          <ac:chgData name="christophe CHUECOS-FONT" userId="7e57acaa-4bc6-4644-8edc-0ecdded28594" providerId="ADAL" clId="{67DE474F-9E2C-4F68-B79B-1B1AA065A498}" dt="2021-04-02T14:14:30.296" v="2582" actId="478"/>
          <ac:spMkLst>
            <pc:docMk/>
            <pc:sldMk cId="3656254179" sldId="971"/>
            <ac:spMk id="7" creationId="{5B58D1DA-4380-4BBE-8657-46526F0FE5B7}"/>
          </ac:spMkLst>
        </pc:spChg>
        <pc:spChg chg="add del mod">
          <ac:chgData name="christophe CHUECOS-FONT" userId="7e57acaa-4bc6-4644-8edc-0ecdded28594" providerId="ADAL" clId="{67DE474F-9E2C-4F68-B79B-1B1AA065A498}" dt="2021-04-02T14:14:28.005" v="2580" actId="478"/>
          <ac:spMkLst>
            <pc:docMk/>
            <pc:sldMk cId="3656254179" sldId="971"/>
            <ac:spMk id="8" creationId="{7231067B-48D1-4E81-B229-62CE0668AA98}"/>
          </ac:spMkLst>
        </pc:spChg>
        <pc:spChg chg="add del mod">
          <ac:chgData name="christophe CHUECOS-FONT" userId="7e57acaa-4bc6-4644-8edc-0ecdded28594" providerId="ADAL" clId="{67DE474F-9E2C-4F68-B79B-1B1AA065A498}" dt="2021-04-02T14:14:28.745" v="2581" actId="478"/>
          <ac:spMkLst>
            <pc:docMk/>
            <pc:sldMk cId="3656254179" sldId="971"/>
            <ac:spMk id="9" creationId="{C477877F-2DF6-4774-BA2B-CD60E226300D}"/>
          </ac:spMkLst>
        </pc:spChg>
        <pc:spChg chg="add mod">
          <ac:chgData name="christophe CHUECOS-FONT" userId="7e57acaa-4bc6-4644-8edc-0ecdded28594" providerId="ADAL" clId="{67DE474F-9E2C-4F68-B79B-1B1AA065A498}" dt="2021-04-02T14:13:54.784" v="2529"/>
          <ac:spMkLst>
            <pc:docMk/>
            <pc:sldMk cId="3656254179" sldId="971"/>
            <ac:spMk id="10" creationId="{9B6A9EDE-AD4F-43CD-BAB5-9CE78292A226}"/>
          </ac:spMkLst>
        </pc:spChg>
        <pc:graphicFrameChg chg="add del mod">
          <ac:chgData name="christophe CHUECOS-FONT" userId="7e57acaa-4bc6-4644-8edc-0ecdded28594" providerId="ADAL" clId="{67DE474F-9E2C-4F68-B79B-1B1AA065A498}" dt="2021-04-02T14:13:56.232" v="2530" actId="478"/>
          <ac:graphicFrameMkLst>
            <pc:docMk/>
            <pc:sldMk cId="3656254179" sldId="971"/>
            <ac:graphicFrameMk id="4" creationId="{47FAE76F-50A2-487D-BF38-5FBDF07DAE47}"/>
          </ac:graphicFrameMkLst>
        </pc:graphicFrameChg>
        <pc:graphicFrameChg chg="add del mod modGraphic">
          <ac:chgData name="christophe CHUECOS-FONT" userId="7e57acaa-4bc6-4644-8edc-0ecdded28594" providerId="ADAL" clId="{67DE474F-9E2C-4F68-B79B-1B1AA065A498}" dt="2021-04-02T14:14:26.118" v="2579" actId="478"/>
          <ac:graphicFrameMkLst>
            <pc:docMk/>
            <pc:sldMk cId="3656254179" sldId="971"/>
            <ac:graphicFrameMk id="5" creationId="{229AC98A-2643-47DA-82A6-AC3752D7697D}"/>
          </ac:graphicFrameMkLst>
        </pc:graphicFrameChg>
        <pc:graphicFrameChg chg="add mod">
          <ac:chgData name="christophe CHUECOS-FONT" userId="7e57acaa-4bc6-4644-8edc-0ecdded28594" providerId="ADAL" clId="{67DE474F-9E2C-4F68-B79B-1B1AA065A498}" dt="2021-04-02T14:14:57.985" v="2587" actId="14100"/>
          <ac:graphicFrameMkLst>
            <pc:docMk/>
            <pc:sldMk cId="3656254179" sldId="971"/>
            <ac:graphicFrameMk id="11" creationId="{5EB7C54B-7185-407F-8361-9934F3CED23B}"/>
          </ac:graphicFrameMkLst>
        </pc:graphicFrameChg>
      </pc:sldChg>
      <pc:sldChg chg="addSp delSp modSp new mod">
        <pc:chgData name="christophe CHUECOS-FONT" userId="7e57acaa-4bc6-4644-8edc-0ecdded28594" providerId="ADAL" clId="{67DE474F-9E2C-4F68-B79B-1B1AA065A498}" dt="2021-04-02T14:17:50.856" v="2719" actId="6549"/>
        <pc:sldMkLst>
          <pc:docMk/>
          <pc:sldMk cId="432476417" sldId="972"/>
        </pc:sldMkLst>
        <pc:spChg chg="mod">
          <ac:chgData name="christophe CHUECOS-FONT" userId="7e57acaa-4bc6-4644-8edc-0ecdded28594" providerId="ADAL" clId="{67DE474F-9E2C-4F68-B79B-1B1AA065A498}" dt="2021-04-02T14:17:50.856" v="2719" actId="6549"/>
          <ac:spMkLst>
            <pc:docMk/>
            <pc:sldMk cId="432476417" sldId="972"/>
            <ac:spMk id="2" creationId="{932C7AE2-AA15-4850-BBBB-A168A1B6B92E}"/>
          </ac:spMkLst>
        </pc:spChg>
        <pc:spChg chg="del">
          <ac:chgData name="christophe CHUECOS-FONT" userId="7e57acaa-4bc6-4644-8edc-0ecdded28594" providerId="ADAL" clId="{67DE474F-9E2C-4F68-B79B-1B1AA065A498}" dt="2021-04-02T14:17:33.180" v="2687"/>
          <ac:spMkLst>
            <pc:docMk/>
            <pc:sldMk cId="432476417" sldId="972"/>
            <ac:spMk id="3" creationId="{62A60B3E-535A-4F9D-89EB-97351A83066C}"/>
          </ac:spMkLst>
        </pc:spChg>
        <pc:graphicFrameChg chg="add mod modGraphic">
          <ac:chgData name="christophe CHUECOS-FONT" userId="7e57acaa-4bc6-4644-8edc-0ecdded28594" providerId="ADAL" clId="{67DE474F-9E2C-4F68-B79B-1B1AA065A498}" dt="2021-04-02T14:17:39.506" v="2689" actId="14100"/>
          <ac:graphicFrameMkLst>
            <pc:docMk/>
            <pc:sldMk cId="432476417" sldId="972"/>
            <ac:graphicFrameMk id="4" creationId="{77AC19AD-F523-4504-8864-039CD8BE6039}"/>
          </ac:graphicFrameMkLst>
        </pc:graphicFrameChg>
      </pc:sldChg>
      <pc:sldChg chg="add del">
        <pc:chgData name="christophe CHUECOS-FONT" userId="7e57acaa-4bc6-4644-8edc-0ecdded28594" providerId="ADAL" clId="{67DE474F-9E2C-4F68-B79B-1B1AA065A498}" dt="2021-04-02T14:16:49.167" v="2685" actId="47"/>
        <pc:sldMkLst>
          <pc:docMk/>
          <pc:sldMk cId="2864443345" sldId="972"/>
        </pc:sldMkLst>
      </pc:sldChg>
      <pc:sldMasterChg chg="del delSldLayout">
        <pc:chgData name="christophe CHUECOS-FONT" userId="7e57acaa-4bc6-4644-8edc-0ecdded28594" providerId="ADAL" clId="{67DE474F-9E2C-4F68-B79B-1B1AA065A498}" dt="2021-04-01T21:10:12.882" v="31" actId="47"/>
        <pc:sldMasterMkLst>
          <pc:docMk/>
          <pc:sldMasterMk cId="33070319" sldId="2147483684"/>
        </pc:sldMasterMkLst>
        <pc:sldLayoutChg chg="del">
          <pc:chgData name="christophe CHUECOS-FONT" userId="7e57acaa-4bc6-4644-8edc-0ecdded28594" providerId="ADAL" clId="{67DE474F-9E2C-4F68-B79B-1B1AA065A498}" dt="2021-04-01T21:10:12.882" v="31" actId="47"/>
          <pc:sldLayoutMkLst>
            <pc:docMk/>
            <pc:sldMasterMk cId="33070319" sldId="2147483684"/>
            <pc:sldLayoutMk cId="2501676829" sldId="2147483685"/>
          </pc:sldLayoutMkLst>
        </pc:sldLayoutChg>
        <pc:sldLayoutChg chg="del">
          <pc:chgData name="christophe CHUECOS-FONT" userId="7e57acaa-4bc6-4644-8edc-0ecdded28594" providerId="ADAL" clId="{67DE474F-9E2C-4F68-B79B-1B1AA065A498}" dt="2021-04-01T21:10:12.882" v="31" actId="47"/>
          <pc:sldLayoutMkLst>
            <pc:docMk/>
            <pc:sldMasterMk cId="33070319" sldId="2147483684"/>
            <pc:sldLayoutMk cId="4099615374" sldId="2147483686"/>
          </pc:sldLayoutMkLst>
        </pc:sldLayoutChg>
        <pc:sldLayoutChg chg="del">
          <pc:chgData name="christophe CHUECOS-FONT" userId="7e57acaa-4bc6-4644-8edc-0ecdded28594" providerId="ADAL" clId="{67DE474F-9E2C-4F68-B79B-1B1AA065A498}" dt="2021-04-01T21:10:12.882" v="31" actId="47"/>
          <pc:sldLayoutMkLst>
            <pc:docMk/>
            <pc:sldMasterMk cId="33070319" sldId="2147483684"/>
            <pc:sldLayoutMk cId="3657292247" sldId="2147483687"/>
          </pc:sldLayoutMkLst>
        </pc:sldLayoutChg>
        <pc:sldLayoutChg chg="del">
          <pc:chgData name="christophe CHUECOS-FONT" userId="7e57acaa-4bc6-4644-8edc-0ecdded28594" providerId="ADAL" clId="{67DE474F-9E2C-4F68-B79B-1B1AA065A498}" dt="2021-04-01T21:10:12.882" v="31" actId="47"/>
          <pc:sldLayoutMkLst>
            <pc:docMk/>
            <pc:sldMasterMk cId="33070319" sldId="2147483684"/>
            <pc:sldLayoutMk cId="267705918" sldId="2147483688"/>
          </pc:sldLayoutMkLst>
        </pc:sldLayoutChg>
        <pc:sldLayoutChg chg="del">
          <pc:chgData name="christophe CHUECOS-FONT" userId="7e57acaa-4bc6-4644-8edc-0ecdded28594" providerId="ADAL" clId="{67DE474F-9E2C-4F68-B79B-1B1AA065A498}" dt="2021-04-01T21:10:12.882" v="31" actId="47"/>
          <pc:sldLayoutMkLst>
            <pc:docMk/>
            <pc:sldMasterMk cId="33070319" sldId="2147483684"/>
            <pc:sldLayoutMk cId="1040196531" sldId="2147483689"/>
          </pc:sldLayoutMkLst>
        </pc:sldLayoutChg>
        <pc:sldLayoutChg chg="del">
          <pc:chgData name="christophe CHUECOS-FONT" userId="7e57acaa-4bc6-4644-8edc-0ecdded28594" providerId="ADAL" clId="{67DE474F-9E2C-4F68-B79B-1B1AA065A498}" dt="2021-04-01T21:10:12.882" v="31" actId="47"/>
          <pc:sldLayoutMkLst>
            <pc:docMk/>
            <pc:sldMasterMk cId="33070319" sldId="2147483684"/>
            <pc:sldLayoutMk cId="3905162884" sldId="2147483690"/>
          </pc:sldLayoutMkLst>
        </pc:sldLayoutChg>
        <pc:sldLayoutChg chg="del">
          <pc:chgData name="christophe CHUECOS-FONT" userId="7e57acaa-4bc6-4644-8edc-0ecdded28594" providerId="ADAL" clId="{67DE474F-9E2C-4F68-B79B-1B1AA065A498}" dt="2021-04-01T21:10:12.882" v="31" actId="47"/>
          <pc:sldLayoutMkLst>
            <pc:docMk/>
            <pc:sldMasterMk cId="33070319" sldId="2147483684"/>
            <pc:sldLayoutMk cId="1032192816" sldId="2147483691"/>
          </pc:sldLayoutMkLst>
        </pc:sldLayoutChg>
        <pc:sldLayoutChg chg="del">
          <pc:chgData name="christophe CHUECOS-FONT" userId="7e57acaa-4bc6-4644-8edc-0ecdded28594" providerId="ADAL" clId="{67DE474F-9E2C-4F68-B79B-1B1AA065A498}" dt="2021-04-01T21:10:12.882" v="31" actId="47"/>
          <pc:sldLayoutMkLst>
            <pc:docMk/>
            <pc:sldMasterMk cId="33070319" sldId="2147483684"/>
            <pc:sldLayoutMk cId="3349092936" sldId="2147483692"/>
          </pc:sldLayoutMkLst>
        </pc:sldLayoutChg>
        <pc:sldLayoutChg chg="del">
          <pc:chgData name="christophe CHUECOS-FONT" userId="7e57acaa-4bc6-4644-8edc-0ecdded28594" providerId="ADAL" clId="{67DE474F-9E2C-4F68-B79B-1B1AA065A498}" dt="2021-04-01T21:10:12.882" v="31" actId="47"/>
          <pc:sldLayoutMkLst>
            <pc:docMk/>
            <pc:sldMasterMk cId="33070319" sldId="2147483684"/>
            <pc:sldLayoutMk cId="2661997866" sldId="2147483693"/>
          </pc:sldLayoutMkLst>
        </pc:sldLayoutChg>
        <pc:sldLayoutChg chg="del">
          <pc:chgData name="christophe CHUECOS-FONT" userId="7e57acaa-4bc6-4644-8edc-0ecdded28594" providerId="ADAL" clId="{67DE474F-9E2C-4F68-B79B-1B1AA065A498}" dt="2021-04-01T21:10:12.882" v="31" actId="47"/>
          <pc:sldLayoutMkLst>
            <pc:docMk/>
            <pc:sldMasterMk cId="33070319" sldId="2147483684"/>
            <pc:sldLayoutMk cId="2752016465" sldId="2147483694"/>
          </pc:sldLayoutMkLst>
        </pc:sldLayoutChg>
        <pc:sldLayoutChg chg="del">
          <pc:chgData name="christophe CHUECOS-FONT" userId="7e57acaa-4bc6-4644-8edc-0ecdded28594" providerId="ADAL" clId="{67DE474F-9E2C-4F68-B79B-1B1AA065A498}" dt="2021-04-01T21:10:12.882" v="31" actId="47"/>
          <pc:sldLayoutMkLst>
            <pc:docMk/>
            <pc:sldMasterMk cId="33070319" sldId="2147483684"/>
            <pc:sldLayoutMk cId="2964460853" sldId="2147483695"/>
          </pc:sldLayoutMkLst>
        </pc:sldLayoutChg>
      </pc:sldMaster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13" Type="http://schemas.openxmlformats.org/officeDocument/2006/relationships/image" Target="../media/image17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svg"/><Relationship Id="rId2" Type="http://schemas.openxmlformats.org/officeDocument/2006/relationships/image" Target="../media/image6.svg"/><Relationship Id="rId1" Type="http://schemas.openxmlformats.org/officeDocument/2006/relationships/image" Target="../media/image5.png"/><Relationship Id="rId6" Type="http://schemas.openxmlformats.org/officeDocument/2006/relationships/image" Target="../media/image10.sv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svg"/><Relationship Id="rId4" Type="http://schemas.openxmlformats.org/officeDocument/2006/relationships/image" Target="../media/image8.svg"/><Relationship Id="rId9" Type="http://schemas.openxmlformats.org/officeDocument/2006/relationships/image" Target="../media/image13.png"/><Relationship Id="rId14" Type="http://schemas.openxmlformats.org/officeDocument/2006/relationships/image" Target="../media/image18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13" Type="http://schemas.openxmlformats.org/officeDocument/2006/relationships/image" Target="../media/image17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svg"/><Relationship Id="rId2" Type="http://schemas.openxmlformats.org/officeDocument/2006/relationships/image" Target="../media/image6.svg"/><Relationship Id="rId1" Type="http://schemas.openxmlformats.org/officeDocument/2006/relationships/image" Target="../media/image5.png"/><Relationship Id="rId6" Type="http://schemas.openxmlformats.org/officeDocument/2006/relationships/image" Target="../media/image10.sv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svg"/><Relationship Id="rId4" Type="http://schemas.openxmlformats.org/officeDocument/2006/relationships/image" Target="../media/image8.svg"/><Relationship Id="rId9" Type="http://schemas.openxmlformats.org/officeDocument/2006/relationships/image" Target="../media/image13.png"/><Relationship Id="rId14" Type="http://schemas.openxmlformats.org/officeDocument/2006/relationships/image" Target="../media/image18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CCA5B7E-21A6-4DC3-AEB6-73C0341295A9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E795DB93-7A97-450F-98F4-ED1E9136DB9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RSI</a:t>
          </a:r>
        </a:p>
      </dgm:t>
    </dgm:pt>
    <dgm:pt modelId="{5B8FA836-B932-461E-8FB8-E5B80EA0822F}" type="parTrans" cxnId="{B02DAE81-278C-4C87-851D-4AB83F77BA19}">
      <dgm:prSet/>
      <dgm:spPr/>
      <dgm:t>
        <a:bodyPr/>
        <a:lstStyle/>
        <a:p>
          <a:endParaRPr lang="en-US"/>
        </a:p>
      </dgm:t>
    </dgm:pt>
    <dgm:pt modelId="{A1C8728D-DD21-4CAC-83E7-6F49F6B34D00}" type="sibTrans" cxnId="{B02DAE81-278C-4C87-851D-4AB83F77BA19}">
      <dgm:prSet/>
      <dgm:spPr/>
      <dgm:t>
        <a:bodyPr/>
        <a:lstStyle/>
        <a:p>
          <a:endParaRPr lang="en-US"/>
        </a:p>
      </dgm:t>
    </dgm:pt>
    <dgm:pt modelId="{C1E51F19-9EB4-4BFA-9965-31A70CF860D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PM</a:t>
          </a:r>
        </a:p>
      </dgm:t>
    </dgm:pt>
    <dgm:pt modelId="{4B84D0E7-894C-4089-9E92-AB79AF63F277}" type="parTrans" cxnId="{6C5E4B9F-D674-45F3-AA7C-E485FF4F2786}">
      <dgm:prSet/>
      <dgm:spPr/>
      <dgm:t>
        <a:bodyPr/>
        <a:lstStyle/>
        <a:p>
          <a:endParaRPr lang="en-US"/>
        </a:p>
      </dgm:t>
    </dgm:pt>
    <dgm:pt modelId="{B70D632C-0E88-46DE-AEEF-23B4995490BB}" type="sibTrans" cxnId="{6C5E4B9F-D674-45F3-AA7C-E485FF4F2786}">
      <dgm:prSet/>
      <dgm:spPr/>
      <dgm:t>
        <a:bodyPr/>
        <a:lstStyle/>
        <a:p>
          <a:endParaRPr lang="en-US"/>
        </a:p>
      </dgm:t>
    </dgm:pt>
    <dgm:pt modelId="{0AF1DCE9-DD45-416D-8003-AC5D78D5BAFA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CH</a:t>
          </a:r>
        </a:p>
      </dgm:t>
    </dgm:pt>
    <dgm:pt modelId="{E4EF28A3-0AD4-4F2A-BB6C-ED17B417E18E}" type="parTrans" cxnId="{13B62420-5096-4637-854C-4D03402B2440}">
      <dgm:prSet/>
      <dgm:spPr/>
      <dgm:t>
        <a:bodyPr/>
        <a:lstStyle/>
        <a:p>
          <a:endParaRPr lang="en-US"/>
        </a:p>
      </dgm:t>
    </dgm:pt>
    <dgm:pt modelId="{7EAA1B46-DA16-4570-B431-D462C7EEB0FF}" type="sibTrans" cxnId="{13B62420-5096-4637-854C-4D03402B2440}">
      <dgm:prSet/>
      <dgm:spPr/>
      <dgm:t>
        <a:bodyPr/>
        <a:lstStyle/>
        <a:p>
          <a:endParaRPr lang="en-US"/>
        </a:p>
      </dgm:t>
    </dgm:pt>
    <dgm:pt modelId="{6CCDBD64-427F-4373-BA4C-952766083390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P</a:t>
          </a:r>
        </a:p>
      </dgm:t>
    </dgm:pt>
    <dgm:pt modelId="{6198B59E-893D-4AD9-BB34-585FD7DF5C95}" type="parTrans" cxnId="{F0EDFC1E-1230-4F67-BCAB-D1670B3EDD12}">
      <dgm:prSet/>
      <dgm:spPr/>
      <dgm:t>
        <a:bodyPr/>
        <a:lstStyle/>
        <a:p>
          <a:endParaRPr lang="en-US"/>
        </a:p>
      </dgm:t>
    </dgm:pt>
    <dgm:pt modelId="{8CF7D97A-8162-4C17-9C1D-D8CDA4D6C28B}" type="sibTrans" cxnId="{F0EDFC1E-1230-4F67-BCAB-D1670B3EDD12}">
      <dgm:prSet/>
      <dgm:spPr/>
      <dgm:t>
        <a:bodyPr/>
        <a:lstStyle/>
        <a:p>
          <a:endParaRPr lang="en-US"/>
        </a:p>
      </dgm:t>
    </dgm:pt>
    <dgm:pt modelId="{3464EC6E-3C8B-4F61-8F6A-B672EF512605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NC</a:t>
          </a:r>
        </a:p>
      </dgm:t>
    </dgm:pt>
    <dgm:pt modelId="{B2935761-C6B7-4EE0-A388-255AA5CFDB56}" type="parTrans" cxnId="{668A13BB-F09E-4AE1-98F6-E8EA4581963A}">
      <dgm:prSet/>
      <dgm:spPr/>
      <dgm:t>
        <a:bodyPr/>
        <a:lstStyle/>
        <a:p>
          <a:endParaRPr lang="fr-FR"/>
        </a:p>
      </dgm:t>
    </dgm:pt>
    <dgm:pt modelId="{F13EEC9A-13B3-46EA-BF66-7C9257DBBD47}" type="sibTrans" cxnId="{668A13BB-F09E-4AE1-98F6-E8EA4581963A}">
      <dgm:prSet/>
      <dgm:spPr/>
      <dgm:t>
        <a:bodyPr/>
        <a:lstStyle/>
        <a:p>
          <a:endParaRPr lang="fr-FR"/>
        </a:p>
      </dgm:t>
    </dgm:pt>
    <dgm:pt modelId="{35BED681-BA9F-4549-A673-B84E70CC3789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IBO</a:t>
          </a:r>
        </a:p>
      </dgm:t>
    </dgm:pt>
    <dgm:pt modelId="{56536E88-37A0-4B5A-AF71-6658FA84D09D}" type="parTrans" cxnId="{594E4C53-A9E6-48B9-AB50-2094B707F8D0}">
      <dgm:prSet/>
      <dgm:spPr/>
      <dgm:t>
        <a:bodyPr/>
        <a:lstStyle/>
        <a:p>
          <a:endParaRPr lang="fr-FR"/>
        </a:p>
      </dgm:t>
    </dgm:pt>
    <dgm:pt modelId="{6C916FAC-1BE3-4721-A13C-2A08F3E931D8}" type="sibTrans" cxnId="{594E4C53-A9E6-48B9-AB50-2094B707F8D0}">
      <dgm:prSet/>
      <dgm:spPr/>
      <dgm:t>
        <a:bodyPr/>
        <a:lstStyle/>
        <a:p>
          <a:endParaRPr lang="fr-FR"/>
        </a:p>
      </dgm:t>
    </dgm:pt>
    <dgm:pt modelId="{19FC7265-E1ED-45F3-81AC-355D453EB010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SE</a:t>
          </a:r>
        </a:p>
      </dgm:t>
    </dgm:pt>
    <dgm:pt modelId="{17287843-9F1D-4581-871A-FCD539BDC408}" type="parTrans" cxnId="{830CE6BF-9D1E-47C9-B398-0FA64A0C535C}">
      <dgm:prSet/>
      <dgm:spPr/>
      <dgm:t>
        <a:bodyPr/>
        <a:lstStyle/>
        <a:p>
          <a:endParaRPr lang="fr-FR"/>
        </a:p>
      </dgm:t>
    </dgm:pt>
    <dgm:pt modelId="{7F99835C-B843-440F-8524-BA592566ACC3}" type="sibTrans" cxnId="{830CE6BF-9D1E-47C9-B398-0FA64A0C535C}">
      <dgm:prSet/>
      <dgm:spPr/>
      <dgm:t>
        <a:bodyPr/>
        <a:lstStyle/>
        <a:p>
          <a:endParaRPr lang="fr-FR"/>
        </a:p>
      </dgm:t>
    </dgm:pt>
    <dgm:pt modelId="{44D6BCFE-8B81-4F05-A67B-54373C39E30C}" type="pres">
      <dgm:prSet presAssocID="{2CCA5B7E-21A6-4DC3-AEB6-73C0341295A9}" presName="root" presStyleCnt="0">
        <dgm:presLayoutVars>
          <dgm:dir/>
          <dgm:resizeHandles val="exact"/>
        </dgm:presLayoutVars>
      </dgm:prSet>
      <dgm:spPr/>
    </dgm:pt>
    <dgm:pt modelId="{FF28AF1A-0414-4A20-A92A-702B605C54BF}" type="pres">
      <dgm:prSet presAssocID="{E795DB93-7A97-450F-98F4-ED1E9136DB97}" presName="compNode" presStyleCnt="0"/>
      <dgm:spPr/>
    </dgm:pt>
    <dgm:pt modelId="{3303A4E2-85EB-4630-BD42-818D47DD9797}" type="pres">
      <dgm:prSet presAssocID="{E795DB93-7A97-450F-98F4-ED1E9136DB97}" presName="bgRect" presStyleLbl="bgShp" presStyleIdx="0" presStyleCnt="7"/>
      <dgm:spPr/>
    </dgm:pt>
    <dgm:pt modelId="{611F7FAB-4F4E-4299-A891-A5EF5E8257A1}" type="pres">
      <dgm:prSet presAssocID="{E795DB93-7A97-450F-98F4-ED1E9136DB97}" presName="iconRect" presStyleLbl="node1" presStyleIdx="0" presStyleCnt="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aptain"/>
        </a:ext>
      </dgm:extLst>
    </dgm:pt>
    <dgm:pt modelId="{09003322-24CE-4BB7-B440-EAEAC94D17B7}" type="pres">
      <dgm:prSet presAssocID="{E795DB93-7A97-450F-98F4-ED1E9136DB97}" presName="spaceRect" presStyleCnt="0"/>
      <dgm:spPr/>
    </dgm:pt>
    <dgm:pt modelId="{30CA80E8-489C-475D-8C18-EF27A6EAB0CE}" type="pres">
      <dgm:prSet presAssocID="{E795DB93-7A97-450F-98F4-ED1E9136DB97}" presName="parTx" presStyleLbl="revTx" presStyleIdx="0" presStyleCnt="7">
        <dgm:presLayoutVars>
          <dgm:chMax val="0"/>
          <dgm:chPref val="0"/>
        </dgm:presLayoutVars>
      </dgm:prSet>
      <dgm:spPr/>
    </dgm:pt>
    <dgm:pt modelId="{F2ED1D8A-D767-40BD-A8C3-846BFD06B1E6}" type="pres">
      <dgm:prSet presAssocID="{A1C8728D-DD21-4CAC-83E7-6F49F6B34D00}" presName="sibTrans" presStyleCnt="0"/>
      <dgm:spPr/>
    </dgm:pt>
    <dgm:pt modelId="{1B09BAB4-E1D0-44B2-A9FD-26A091DB2779}" type="pres">
      <dgm:prSet presAssocID="{C1E51F19-9EB4-4BFA-9965-31A70CF860D2}" presName="compNode" presStyleCnt="0"/>
      <dgm:spPr/>
    </dgm:pt>
    <dgm:pt modelId="{ACE1DEE3-5DBF-4209-BC3F-77153AA21EF0}" type="pres">
      <dgm:prSet presAssocID="{C1E51F19-9EB4-4BFA-9965-31A70CF860D2}" presName="bgRect" presStyleLbl="bgShp" presStyleIdx="1" presStyleCnt="7" custLinFactNeighborX="1487"/>
      <dgm:spPr/>
    </dgm:pt>
    <dgm:pt modelId="{BB8A3268-5C46-4EC8-8F37-82FDEF5DC58A}" type="pres">
      <dgm:prSet presAssocID="{C1E51F19-9EB4-4BFA-9965-31A70CF860D2}" presName="iconRect" presStyleLbl="node1" presStyleIdx="1" presStyleCnt="7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rker"/>
        </a:ext>
      </dgm:extLst>
    </dgm:pt>
    <dgm:pt modelId="{2E7CD1F5-A64D-444B-9701-92C0A80E3E03}" type="pres">
      <dgm:prSet presAssocID="{C1E51F19-9EB4-4BFA-9965-31A70CF860D2}" presName="spaceRect" presStyleCnt="0"/>
      <dgm:spPr/>
    </dgm:pt>
    <dgm:pt modelId="{570F255B-2A33-413E-BE80-0F29C01AD211}" type="pres">
      <dgm:prSet presAssocID="{C1E51F19-9EB4-4BFA-9965-31A70CF860D2}" presName="parTx" presStyleLbl="revTx" presStyleIdx="1" presStyleCnt="7" custScaleX="100000">
        <dgm:presLayoutVars>
          <dgm:chMax val="0"/>
          <dgm:chPref val="0"/>
        </dgm:presLayoutVars>
      </dgm:prSet>
      <dgm:spPr/>
    </dgm:pt>
    <dgm:pt modelId="{3C9D8046-411B-4C98-B6DE-D892EF1C5A20}" type="pres">
      <dgm:prSet presAssocID="{B70D632C-0E88-46DE-AEEF-23B4995490BB}" presName="sibTrans" presStyleCnt="0"/>
      <dgm:spPr/>
    </dgm:pt>
    <dgm:pt modelId="{B271A64C-F764-4862-BDFC-D7D6F5B85E41}" type="pres">
      <dgm:prSet presAssocID="{0AF1DCE9-DD45-416D-8003-AC5D78D5BAFA}" presName="compNode" presStyleCnt="0"/>
      <dgm:spPr/>
    </dgm:pt>
    <dgm:pt modelId="{F4C39026-A17F-4CD6-AE73-30F790063AA3}" type="pres">
      <dgm:prSet presAssocID="{0AF1DCE9-DD45-416D-8003-AC5D78D5BAFA}" presName="bgRect" presStyleLbl="bgShp" presStyleIdx="2" presStyleCnt="7"/>
      <dgm:spPr/>
    </dgm:pt>
    <dgm:pt modelId="{1BB1DF5A-3E2C-4C21-8D06-13C49A4AB1A3}" type="pres">
      <dgm:prSet presAssocID="{0AF1DCE9-DD45-416D-8003-AC5D78D5BAFA}" presName="iconRect" presStyleLbl="node1" presStyleIdx="2" presStyleCnt="7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ome"/>
        </a:ext>
      </dgm:extLst>
    </dgm:pt>
    <dgm:pt modelId="{70873AEA-5208-4A10-A0FD-BEC8788DC8E3}" type="pres">
      <dgm:prSet presAssocID="{0AF1DCE9-DD45-416D-8003-AC5D78D5BAFA}" presName="spaceRect" presStyleCnt="0"/>
      <dgm:spPr/>
    </dgm:pt>
    <dgm:pt modelId="{B5589111-C90F-4327-83E7-E170428FC020}" type="pres">
      <dgm:prSet presAssocID="{0AF1DCE9-DD45-416D-8003-AC5D78D5BAFA}" presName="parTx" presStyleLbl="revTx" presStyleIdx="2" presStyleCnt="7">
        <dgm:presLayoutVars>
          <dgm:chMax val="0"/>
          <dgm:chPref val="0"/>
        </dgm:presLayoutVars>
      </dgm:prSet>
      <dgm:spPr/>
    </dgm:pt>
    <dgm:pt modelId="{ECEF6EE0-30F6-4EFB-A4B1-37C95D3FBFFF}" type="pres">
      <dgm:prSet presAssocID="{7EAA1B46-DA16-4570-B431-D462C7EEB0FF}" presName="sibTrans" presStyleCnt="0"/>
      <dgm:spPr/>
    </dgm:pt>
    <dgm:pt modelId="{52581C6C-428A-4A37-9A33-5BA3CA43F662}" type="pres">
      <dgm:prSet presAssocID="{6CCDBD64-427F-4373-BA4C-952766083390}" presName="compNode" presStyleCnt="0"/>
      <dgm:spPr/>
    </dgm:pt>
    <dgm:pt modelId="{37F0C475-4C58-4DA5-BA88-E94F51CC98CB}" type="pres">
      <dgm:prSet presAssocID="{6CCDBD64-427F-4373-BA4C-952766083390}" presName="bgRect" presStyleLbl="bgShp" presStyleIdx="3" presStyleCnt="7" custLinFactNeighborX="1487"/>
      <dgm:spPr/>
    </dgm:pt>
    <dgm:pt modelId="{74714754-D045-4941-932A-78081CCBA8EB}" type="pres">
      <dgm:prSet presAssocID="{6CCDBD64-427F-4373-BA4C-952766083390}" presName="iconRect" presStyleLbl="node1" presStyleIdx="3" presStyleCnt="7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éléphone mains libres"/>
        </a:ext>
      </dgm:extLst>
    </dgm:pt>
    <dgm:pt modelId="{1DB95508-24FF-43DD-872A-3FA3DD621603}" type="pres">
      <dgm:prSet presAssocID="{6CCDBD64-427F-4373-BA4C-952766083390}" presName="spaceRect" presStyleCnt="0"/>
      <dgm:spPr/>
    </dgm:pt>
    <dgm:pt modelId="{7B1AC777-8B37-41E6-8B9B-E787B9FE9935}" type="pres">
      <dgm:prSet presAssocID="{6CCDBD64-427F-4373-BA4C-952766083390}" presName="parTx" presStyleLbl="revTx" presStyleIdx="3" presStyleCnt="7">
        <dgm:presLayoutVars>
          <dgm:chMax val="0"/>
          <dgm:chPref val="0"/>
        </dgm:presLayoutVars>
      </dgm:prSet>
      <dgm:spPr/>
    </dgm:pt>
    <dgm:pt modelId="{8DC13348-EC83-4874-AF6B-9944DCE28CEF}" type="pres">
      <dgm:prSet presAssocID="{8CF7D97A-8162-4C17-9C1D-D8CDA4D6C28B}" presName="sibTrans" presStyleCnt="0"/>
      <dgm:spPr/>
    </dgm:pt>
    <dgm:pt modelId="{1E872B3B-0D97-4918-B9E5-0F9F5D6A8A69}" type="pres">
      <dgm:prSet presAssocID="{3464EC6E-3C8B-4F61-8F6A-B672EF512605}" presName="compNode" presStyleCnt="0"/>
      <dgm:spPr/>
    </dgm:pt>
    <dgm:pt modelId="{B3F5ECC9-F47C-4643-8D49-0B497267BDC4}" type="pres">
      <dgm:prSet presAssocID="{3464EC6E-3C8B-4F61-8F6A-B672EF512605}" presName="bgRect" presStyleLbl="bgShp" presStyleIdx="4" presStyleCnt="7"/>
      <dgm:spPr/>
    </dgm:pt>
    <dgm:pt modelId="{F02F4037-266A-437D-9094-0B6BE43220FF}" type="pres">
      <dgm:prSet presAssocID="{3464EC6E-3C8B-4F61-8F6A-B672EF512605}" presName="iconRect" presStyleLbl="node1" presStyleIdx="4" presStyleCnt="7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oignée de main"/>
        </a:ext>
      </dgm:extLst>
    </dgm:pt>
    <dgm:pt modelId="{EF65A8A4-EECE-4C03-A840-0C2F5E0D33A4}" type="pres">
      <dgm:prSet presAssocID="{3464EC6E-3C8B-4F61-8F6A-B672EF512605}" presName="spaceRect" presStyleCnt="0"/>
      <dgm:spPr/>
    </dgm:pt>
    <dgm:pt modelId="{7C9A83D0-4362-4306-BBB0-799F5A93163B}" type="pres">
      <dgm:prSet presAssocID="{3464EC6E-3C8B-4F61-8F6A-B672EF512605}" presName="parTx" presStyleLbl="revTx" presStyleIdx="4" presStyleCnt="7">
        <dgm:presLayoutVars>
          <dgm:chMax val="0"/>
          <dgm:chPref val="0"/>
        </dgm:presLayoutVars>
      </dgm:prSet>
      <dgm:spPr/>
    </dgm:pt>
    <dgm:pt modelId="{13467C5D-6E71-4939-ACC7-4E892F348809}" type="pres">
      <dgm:prSet presAssocID="{F13EEC9A-13B3-46EA-BF66-7C9257DBBD47}" presName="sibTrans" presStyleCnt="0"/>
      <dgm:spPr/>
    </dgm:pt>
    <dgm:pt modelId="{75F59C80-F85D-46CE-B87E-2847F61FF0E5}" type="pres">
      <dgm:prSet presAssocID="{35BED681-BA9F-4549-A673-B84E70CC3789}" presName="compNode" presStyleCnt="0"/>
      <dgm:spPr/>
    </dgm:pt>
    <dgm:pt modelId="{80F276E8-A2D9-4597-9B86-6B626CFEEE84}" type="pres">
      <dgm:prSet presAssocID="{35BED681-BA9F-4549-A673-B84E70CC3789}" presName="bgRect" presStyleLbl="bgShp" presStyleIdx="5" presStyleCnt="7"/>
      <dgm:spPr/>
    </dgm:pt>
    <dgm:pt modelId="{FEE41791-8DD4-4DB1-8D78-A7C58F61F763}" type="pres">
      <dgm:prSet presAssocID="{35BED681-BA9F-4549-A673-B84E70CC3789}" presName="iconRect" presStyleLbl="node1" presStyleIdx="5" presStyleCnt="7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résentation avec graphique à barres"/>
        </a:ext>
      </dgm:extLst>
    </dgm:pt>
    <dgm:pt modelId="{1564083D-2A58-4406-85A3-C441E78B0222}" type="pres">
      <dgm:prSet presAssocID="{35BED681-BA9F-4549-A673-B84E70CC3789}" presName="spaceRect" presStyleCnt="0"/>
      <dgm:spPr/>
    </dgm:pt>
    <dgm:pt modelId="{D82ABBBD-0CC4-42A7-85C7-9F4D1B14EA8D}" type="pres">
      <dgm:prSet presAssocID="{35BED681-BA9F-4549-A673-B84E70CC3789}" presName="parTx" presStyleLbl="revTx" presStyleIdx="5" presStyleCnt="7">
        <dgm:presLayoutVars>
          <dgm:chMax val="0"/>
          <dgm:chPref val="0"/>
        </dgm:presLayoutVars>
      </dgm:prSet>
      <dgm:spPr/>
    </dgm:pt>
    <dgm:pt modelId="{E4A00E8D-B653-4A61-A848-6506A535A21D}" type="pres">
      <dgm:prSet presAssocID="{6C916FAC-1BE3-4721-A13C-2A08F3E931D8}" presName="sibTrans" presStyleCnt="0"/>
      <dgm:spPr/>
    </dgm:pt>
    <dgm:pt modelId="{76CF32FC-9D48-4C67-B3CA-4AFAC6B07E46}" type="pres">
      <dgm:prSet presAssocID="{19FC7265-E1ED-45F3-81AC-355D453EB010}" presName="compNode" presStyleCnt="0"/>
      <dgm:spPr/>
    </dgm:pt>
    <dgm:pt modelId="{BE2A0ED2-AC81-4C0C-BFC6-DC8DC3720CE6}" type="pres">
      <dgm:prSet presAssocID="{19FC7265-E1ED-45F3-81AC-355D453EB010}" presName="bgRect" presStyleLbl="bgShp" presStyleIdx="6" presStyleCnt="7"/>
      <dgm:spPr/>
    </dgm:pt>
    <dgm:pt modelId="{E69B511C-F3FE-45BE-A184-82660C2AD062}" type="pres">
      <dgm:prSet presAssocID="{19FC7265-E1ED-45F3-81AC-355D453EB010}" presName="iconRect" presStyleLbl="node1" presStyleIdx="6" presStyleCnt="7"/>
      <dgm:spPr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artager avec une personne"/>
        </a:ext>
      </dgm:extLst>
    </dgm:pt>
    <dgm:pt modelId="{16600871-E970-4AC9-BC71-B8E782EDC9D3}" type="pres">
      <dgm:prSet presAssocID="{19FC7265-E1ED-45F3-81AC-355D453EB010}" presName="spaceRect" presStyleCnt="0"/>
      <dgm:spPr/>
    </dgm:pt>
    <dgm:pt modelId="{7997025A-1E49-444B-82AE-E1D248E88FE4}" type="pres">
      <dgm:prSet presAssocID="{19FC7265-E1ED-45F3-81AC-355D453EB010}" presName="parTx" presStyleLbl="revTx" presStyleIdx="6" presStyleCnt="7">
        <dgm:presLayoutVars>
          <dgm:chMax val="0"/>
          <dgm:chPref val="0"/>
        </dgm:presLayoutVars>
      </dgm:prSet>
      <dgm:spPr/>
    </dgm:pt>
  </dgm:ptLst>
  <dgm:cxnLst>
    <dgm:cxn modelId="{AC83D20E-B62B-476F-A561-150C30BB36CD}" type="presOf" srcId="{E795DB93-7A97-450F-98F4-ED1E9136DB97}" destId="{30CA80E8-489C-475D-8C18-EF27A6EAB0CE}" srcOrd="0" destOrd="0" presId="urn:microsoft.com/office/officeart/2018/2/layout/IconVerticalSolidList"/>
    <dgm:cxn modelId="{F0EDFC1E-1230-4F67-BCAB-D1670B3EDD12}" srcId="{2CCA5B7E-21A6-4DC3-AEB6-73C0341295A9}" destId="{6CCDBD64-427F-4373-BA4C-952766083390}" srcOrd="3" destOrd="0" parTransId="{6198B59E-893D-4AD9-BB34-585FD7DF5C95}" sibTransId="{8CF7D97A-8162-4C17-9C1D-D8CDA4D6C28B}"/>
    <dgm:cxn modelId="{13B62420-5096-4637-854C-4D03402B2440}" srcId="{2CCA5B7E-21A6-4DC3-AEB6-73C0341295A9}" destId="{0AF1DCE9-DD45-416D-8003-AC5D78D5BAFA}" srcOrd="2" destOrd="0" parTransId="{E4EF28A3-0AD4-4F2A-BB6C-ED17B417E18E}" sibTransId="{7EAA1B46-DA16-4570-B431-D462C7EEB0FF}"/>
    <dgm:cxn modelId="{05BFE42D-567C-4AAA-9982-57C63F7272FB}" type="presOf" srcId="{35BED681-BA9F-4549-A673-B84E70CC3789}" destId="{D82ABBBD-0CC4-42A7-85C7-9F4D1B14EA8D}" srcOrd="0" destOrd="0" presId="urn:microsoft.com/office/officeart/2018/2/layout/IconVerticalSolidList"/>
    <dgm:cxn modelId="{29CA634F-FCA0-46A3-8589-0B60176EA374}" type="presOf" srcId="{3464EC6E-3C8B-4F61-8F6A-B672EF512605}" destId="{7C9A83D0-4362-4306-BBB0-799F5A93163B}" srcOrd="0" destOrd="0" presId="urn:microsoft.com/office/officeart/2018/2/layout/IconVerticalSolidList"/>
    <dgm:cxn modelId="{594E4C53-A9E6-48B9-AB50-2094B707F8D0}" srcId="{2CCA5B7E-21A6-4DC3-AEB6-73C0341295A9}" destId="{35BED681-BA9F-4549-A673-B84E70CC3789}" srcOrd="5" destOrd="0" parTransId="{56536E88-37A0-4B5A-AF71-6658FA84D09D}" sibTransId="{6C916FAC-1BE3-4721-A13C-2A08F3E931D8}"/>
    <dgm:cxn modelId="{B02DAE81-278C-4C87-851D-4AB83F77BA19}" srcId="{2CCA5B7E-21A6-4DC3-AEB6-73C0341295A9}" destId="{E795DB93-7A97-450F-98F4-ED1E9136DB97}" srcOrd="0" destOrd="0" parTransId="{5B8FA836-B932-461E-8FB8-E5B80EA0822F}" sibTransId="{A1C8728D-DD21-4CAC-83E7-6F49F6B34D00}"/>
    <dgm:cxn modelId="{B928E790-375C-4703-ADEF-9AC89CEF6760}" type="presOf" srcId="{C1E51F19-9EB4-4BFA-9965-31A70CF860D2}" destId="{570F255B-2A33-413E-BE80-0F29C01AD211}" srcOrd="0" destOrd="0" presId="urn:microsoft.com/office/officeart/2018/2/layout/IconVerticalSolidList"/>
    <dgm:cxn modelId="{6C5E4B9F-D674-45F3-AA7C-E485FF4F2786}" srcId="{2CCA5B7E-21A6-4DC3-AEB6-73C0341295A9}" destId="{C1E51F19-9EB4-4BFA-9965-31A70CF860D2}" srcOrd="1" destOrd="0" parTransId="{4B84D0E7-894C-4089-9E92-AB79AF63F277}" sibTransId="{B70D632C-0E88-46DE-AEEF-23B4995490BB}"/>
    <dgm:cxn modelId="{668A13BB-F09E-4AE1-98F6-E8EA4581963A}" srcId="{2CCA5B7E-21A6-4DC3-AEB6-73C0341295A9}" destId="{3464EC6E-3C8B-4F61-8F6A-B672EF512605}" srcOrd="4" destOrd="0" parTransId="{B2935761-C6B7-4EE0-A388-255AA5CFDB56}" sibTransId="{F13EEC9A-13B3-46EA-BF66-7C9257DBBD47}"/>
    <dgm:cxn modelId="{830CE6BF-9D1E-47C9-B398-0FA64A0C535C}" srcId="{2CCA5B7E-21A6-4DC3-AEB6-73C0341295A9}" destId="{19FC7265-E1ED-45F3-81AC-355D453EB010}" srcOrd="6" destOrd="0" parTransId="{17287843-9F1D-4581-871A-FCD539BDC408}" sibTransId="{7F99835C-B843-440F-8524-BA592566ACC3}"/>
    <dgm:cxn modelId="{2ED437D0-2610-4D24-9088-DC45A9D63075}" type="presOf" srcId="{2CCA5B7E-21A6-4DC3-AEB6-73C0341295A9}" destId="{44D6BCFE-8B81-4F05-A67B-54373C39E30C}" srcOrd="0" destOrd="0" presId="urn:microsoft.com/office/officeart/2018/2/layout/IconVerticalSolidList"/>
    <dgm:cxn modelId="{0F7454DD-5CD7-46D3-BF89-8E9CE737B6C2}" type="presOf" srcId="{19FC7265-E1ED-45F3-81AC-355D453EB010}" destId="{7997025A-1E49-444B-82AE-E1D248E88FE4}" srcOrd="0" destOrd="0" presId="urn:microsoft.com/office/officeart/2018/2/layout/IconVerticalSolidList"/>
    <dgm:cxn modelId="{DB1290F3-C33D-403B-B98F-3BCBF946C46C}" type="presOf" srcId="{6CCDBD64-427F-4373-BA4C-952766083390}" destId="{7B1AC777-8B37-41E6-8B9B-E787B9FE9935}" srcOrd="0" destOrd="0" presId="urn:microsoft.com/office/officeart/2018/2/layout/IconVerticalSolidList"/>
    <dgm:cxn modelId="{D57A91F3-51D1-4319-9A40-1C6A3F7A4B79}" type="presOf" srcId="{0AF1DCE9-DD45-416D-8003-AC5D78D5BAFA}" destId="{B5589111-C90F-4327-83E7-E170428FC020}" srcOrd="0" destOrd="0" presId="urn:microsoft.com/office/officeart/2018/2/layout/IconVerticalSolidList"/>
    <dgm:cxn modelId="{E4DFB7DB-709B-447C-A056-E123D1A183D1}" type="presParOf" srcId="{44D6BCFE-8B81-4F05-A67B-54373C39E30C}" destId="{FF28AF1A-0414-4A20-A92A-702B605C54BF}" srcOrd="0" destOrd="0" presId="urn:microsoft.com/office/officeart/2018/2/layout/IconVerticalSolidList"/>
    <dgm:cxn modelId="{C2983B3A-065B-408C-B318-5D48F8C95922}" type="presParOf" srcId="{FF28AF1A-0414-4A20-A92A-702B605C54BF}" destId="{3303A4E2-85EB-4630-BD42-818D47DD9797}" srcOrd="0" destOrd="0" presId="urn:microsoft.com/office/officeart/2018/2/layout/IconVerticalSolidList"/>
    <dgm:cxn modelId="{3E7B8459-1362-42A8-940D-132DEEC883BB}" type="presParOf" srcId="{FF28AF1A-0414-4A20-A92A-702B605C54BF}" destId="{611F7FAB-4F4E-4299-A891-A5EF5E8257A1}" srcOrd="1" destOrd="0" presId="urn:microsoft.com/office/officeart/2018/2/layout/IconVerticalSolidList"/>
    <dgm:cxn modelId="{33810412-1B65-45A0-86D0-8247F477B2A0}" type="presParOf" srcId="{FF28AF1A-0414-4A20-A92A-702B605C54BF}" destId="{09003322-24CE-4BB7-B440-EAEAC94D17B7}" srcOrd="2" destOrd="0" presId="urn:microsoft.com/office/officeart/2018/2/layout/IconVerticalSolidList"/>
    <dgm:cxn modelId="{2926F851-9818-443C-96AD-7860E80AAC04}" type="presParOf" srcId="{FF28AF1A-0414-4A20-A92A-702B605C54BF}" destId="{30CA80E8-489C-475D-8C18-EF27A6EAB0CE}" srcOrd="3" destOrd="0" presId="urn:microsoft.com/office/officeart/2018/2/layout/IconVerticalSolidList"/>
    <dgm:cxn modelId="{A9A495F7-AED0-425F-A557-91192B55DC12}" type="presParOf" srcId="{44D6BCFE-8B81-4F05-A67B-54373C39E30C}" destId="{F2ED1D8A-D767-40BD-A8C3-846BFD06B1E6}" srcOrd="1" destOrd="0" presId="urn:microsoft.com/office/officeart/2018/2/layout/IconVerticalSolidList"/>
    <dgm:cxn modelId="{A1C060AE-8B91-437C-86C8-75F0B56189F0}" type="presParOf" srcId="{44D6BCFE-8B81-4F05-A67B-54373C39E30C}" destId="{1B09BAB4-E1D0-44B2-A9FD-26A091DB2779}" srcOrd="2" destOrd="0" presId="urn:microsoft.com/office/officeart/2018/2/layout/IconVerticalSolidList"/>
    <dgm:cxn modelId="{1B86541E-6C96-42CB-BEA3-43EFE3465D40}" type="presParOf" srcId="{1B09BAB4-E1D0-44B2-A9FD-26A091DB2779}" destId="{ACE1DEE3-5DBF-4209-BC3F-77153AA21EF0}" srcOrd="0" destOrd="0" presId="urn:microsoft.com/office/officeart/2018/2/layout/IconVerticalSolidList"/>
    <dgm:cxn modelId="{B98771C2-C8BF-4FAD-B358-C1F039D20269}" type="presParOf" srcId="{1B09BAB4-E1D0-44B2-A9FD-26A091DB2779}" destId="{BB8A3268-5C46-4EC8-8F37-82FDEF5DC58A}" srcOrd="1" destOrd="0" presId="urn:microsoft.com/office/officeart/2018/2/layout/IconVerticalSolidList"/>
    <dgm:cxn modelId="{8CA72DA3-D1FD-49A4-8EEF-3F7BED8581F3}" type="presParOf" srcId="{1B09BAB4-E1D0-44B2-A9FD-26A091DB2779}" destId="{2E7CD1F5-A64D-444B-9701-92C0A80E3E03}" srcOrd="2" destOrd="0" presId="urn:microsoft.com/office/officeart/2018/2/layout/IconVerticalSolidList"/>
    <dgm:cxn modelId="{04E7A3A1-C79F-4BBC-B68C-210674671CE7}" type="presParOf" srcId="{1B09BAB4-E1D0-44B2-A9FD-26A091DB2779}" destId="{570F255B-2A33-413E-BE80-0F29C01AD211}" srcOrd="3" destOrd="0" presId="urn:microsoft.com/office/officeart/2018/2/layout/IconVerticalSolidList"/>
    <dgm:cxn modelId="{CDE2157B-71E8-40AE-9740-E036D6026EF2}" type="presParOf" srcId="{44D6BCFE-8B81-4F05-A67B-54373C39E30C}" destId="{3C9D8046-411B-4C98-B6DE-D892EF1C5A20}" srcOrd="3" destOrd="0" presId="urn:microsoft.com/office/officeart/2018/2/layout/IconVerticalSolidList"/>
    <dgm:cxn modelId="{45E5E569-F6BE-41AA-9A26-1EB1876C420F}" type="presParOf" srcId="{44D6BCFE-8B81-4F05-A67B-54373C39E30C}" destId="{B271A64C-F764-4862-BDFC-D7D6F5B85E41}" srcOrd="4" destOrd="0" presId="urn:microsoft.com/office/officeart/2018/2/layout/IconVerticalSolidList"/>
    <dgm:cxn modelId="{06E4AB54-FA11-4CFB-B3CC-41963294C9AE}" type="presParOf" srcId="{B271A64C-F764-4862-BDFC-D7D6F5B85E41}" destId="{F4C39026-A17F-4CD6-AE73-30F790063AA3}" srcOrd="0" destOrd="0" presId="urn:microsoft.com/office/officeart/2018/2/layout/IconVerticalSolidList"/>
    <dgm:cxn modelId="{236B9019-8074-44F6-B691-1E6184355947}" type="presParOf" srcId="{B271A64C-F764-4862-BDFC-D7D6F5B85E41}" destId="{1BB1DF5A-3E2C-4C21-8D06-13C49A4AB1A3}" srcOrd="1" destOrd="0" presId="urn:microsoft.com/office/officeart/2018/2/layout/IconVerticalSolidList"/>
    <dgm:cxn modelId="{0DCF9709-8983-4AD9-B26D-154639B68559}" type="presParOf" srcId="{B271A64C-F764-4862-BDFC-D7D6F5B85E41}" destId="{70873AEA-5208-4A10-A0FD-BEC8788DC8E3}" srcOrd="2" destOrd="0" presId="urn:microsoft.com/office/officeart/2018/2/layout/IconVerticalSolidList"/>
    <dgm:cxn modelId="{8766D1EA-A663-4CCE-9817-B3BBC211E209}" type="presParOf" srcId="{B271A64C-F764-4862-BDFC-D7D6F5B85E41}" destId="{B5589111-C90F-4327-83E7-E170428FC020}" srcOrd="3" destOrd="0" presId="urn:microsoft.com/office/officeart/2018/2/layout/IconVerticalSolidList"/>
    <dgm:cxn modelId="{42014C7D-1F41-453E-9E54-51DC28821803}" type="presParOf" srcId="{44D6BCFE-8B81-4F05-A67B-54373C39E30C}" destId="{ECEF6EE0-30F6-4EFB-A4B1-37C95D3FBFFF}" srcOrd="5" destOrd="0" presId="urn:microsoft.com/office/officeart/2018/2/layout/IconVerticalSolidList"/>
    <dgm:cxn modelId="{FE095DCE-5D7E-4968-A47D-1195DD78FA11}" type="presParOf" srcId="{44D6BCFE-8B81-4F05-A67B-54373C39E30C}" destId="{52581C6C-428A-4A37-9A33-5BA3CA43F662}" srcOrd="6" destOrd="0" presId="urn:microsoft.com/office/officeart/2018/2/layout/IconVerticalSolidList"/>
    <dgm:cxn modelId="{B1898BC4-FD40-4CDF-A143-49350E670A59}" type="presParOf" srcId="{52581C6C-428A-4A37-9A33-5BA3CA43F662}" destId="{37F0C475-4C58-4DA5-BA88-E94F51CC98CB}" srcOrd="0" destOrd="0" presId="urn:microsoft.com/office/officeart/2018/2/layout/IconVerticalSolidList"/>
    <dgm:cxn modelId="{282A5734-D997-4CA8-BA56-DB2731E795F9}" type="presParOf" srcId="{52581C6C-428A-4A37-9A33-5BA3CA43F662}" destId="{74714754-D045-4941-932A-78081CCBA8EB}" srcOrd="1" destOrd="0" presId="urn:microsoft.com/office/officeart/2018/2/layout/IconVerticalSolidList"/>
    <dgm:cxn modelId="{5F1FA409-B83E-49F4-85FA-4F2C65BBD05B}" type="presParOf" srcId="{52581C6C-428A-4A37-9A33-5BA3CA43F662}" destId="{1DB95508-24FF-43DD-872A-3FA3DD621603}" srcOrd="2" destOrd="0" presId="urn:microsoft.com/office/officeart/2018/2/layout/IconVerticalSolidList"/>
    <dgm:cxn modelId="{FABBB1EF-E033-417E-9444-2B784FE0CBBE}" type="presParOf" srcId="{52581C6C-428A-4A37-9A33-5BA3CA43F662}" destId="{7B1AC777-8B37-41E6-8B9B-E787B9FE9935}" srcOrd="3" destOrd="0" presId="urn:microsoft.com/office/officeart/2018/2/layout/IconVerticalSolidList"/>
    <dgm:cxn modelId="{251E9163-2435-470E-9E24-0AED88716E78}" type="presParOf" srcId="{44D6BCFE-8B81-4F05-A67B-54373C39E30C}" destId="{8DC13348-EC83-4874-AF6B-9944DCE28CEF}" srcOrd="7" destOrd="0" presId="urn:microsoft.com/office/officeart/2018/2/layout/IconVerticalSolidList"/>
    <dgm:cxn modelId="{510930F4-05C1-486D-833C-53F3E6B0AF14}" type="presParOf" srcId="{44D6BCFE-8B81-4F05-A67B-54373C39E30C}" destId="{1E872B3B-0D97-4918-B9E5-0F9F5D6A8A69}" srcOrd="8" destOrd="0" presId="urn:microsoft.com/office/officeart/2018/2/layout/IconVerticalSolidList"/>
    <dgm:cxn modelId="{15D97F35-8DB7-4EC1-B53E-B8522AA04596}" type="presParOf" srcId="{1E872B3B-0D97-4918-B9E5-0F9F5D6A8A69}" destId="{B3F5ECC9-F47C-4643-8D49-0B497267BDC4}" srcOrd="0" destOrd="0" presId="urn:microsoft.com/office/officeart/2018/2/layout/IconVerticalSolidList"/>
    <dgm:cxn modelId="{3F86A836-CB64-4DDF-969F-C98B23B7ABF0}" type="presParOf" srcId="{1E872B3B-0D97-4918-B9E5-0F9F5D6A8A69}" destId="{F02F4037-266A-437D-9094-0B6BE43220FF}" srcOrd="1" destOrd="0" presId="urn:microsoft.com/office/officeart/2018/2/layout/IconVerticalSolidList"/>
    <dgm:cxn modelId="{CFF7EF15-3FBB-4FC0-94C4-88E682EDB2BA}" type="presParOf" srcId="{1E872B3B-0D97-4918-B9E5-0F9F5D6A8A69}" destId="{EF65A8A4-EECE-4C03-A840-0C2F5E0D33A4}" srcOrd="2" destOrd="0" presId="urn:microsoft.com/office/officeart/2018/2/layout/IconVerticalSolidList"/>
    <dgm:cxn modelId="{353BF2B3-E204-4B9E-82CF-379E602EB01B}" type="presParOf" srcId="{1E872B3B-0D97-4918-B9E5-0F9F5D6A8A69}" destId="{7C9A83D0-4362-4306-BBB0-799F5A93163B}" srcOrd="3" destOrd="0" presId="urn:microsoft.com/office/officeart/2018/2/layout/IconVerticalSolidList"/>
    <dgm:cxn modelId="{18DAFAE4-4A88-4376-AE3C-E9EEBFB577D4}" type="presParOf" srcId="{44D6BCFE-8B81-4F05-A67B-54373C39E30C}" destId="{13467C5D-6E71-4939-ACC7-4E892F348809}" srcOrd="9" destOrd="0" presId="urn:microsoft.com/office/officeart/2018/2/layout/IconVerticalSolidList"/>
    <dgm:cxn modelId="{9BDFE7EE-BF0B-4128-981A-35D74390068C}" type="presParOf" srcId="{44D6BCFE-8B81-4F05-A67B-54373C39E30C}" destId="{75F59C80-F85D-46CE-B87E-2847F61FF0E5}" srcOrd="10" destOrd="0" presId="urn:microsoft.com/office/officeart/2018/2/layout/IconVerticalSolidList"/>
    <dgm:cxn modelId="{9FB5ACFE-6FEF-4415-A92E-3981FE601AEE}" type="presParOf" srcId="{75F59C80-F85D-46CE-B87E-2847F61FF0E5}" destId="{80F276E8-A2D9-4597-9B86-6B626CFEEE84}" srcOrd="0" destOrd="0" presId="urn:microsoft.com/office/officeart/2018/2/layout/IconVerticalSolidList"/>
    <dgm:cxn modelId="{C860D486-05E1-4339-946F-807A6ADA4AA3}" type="presParOf" srcId="{75F59C80-F85D-46CE-B87E-2847F61FF0E5}" destId="{FEE41791-8DD4-4DB1-8D78-A7C58F61F763}" srcOrd="1" destOrd="0" presId="urn:microsoft.com/office/officeart/2018/2/layout/IconVerticalSolidList"/>
    <dgm:cxn modelId="{0FA87A56-6956-4EFD-BAE2-098FD560DCA9}" type="presParOf" srcId="{75F59C80-F85D-46CE-B87E-2847F61FF0E5}" destId="{1564083D-2A58-4406-85A3-C441E78B0222}" srcOrd="2" destOrd="0" presId="urn:microsoft.com/office/officeart/2018/2/layout/IconVerticalSolidList"/>
    <dgm:cxn modelId="{092FE0A5-9C04-4F41-AC5E-F34EF9F8931A}" type="presParOf" srcId="{75F59C80-F85D-46CE-B87E-2847F61FF0E5}" destId="{D82ABBBD-0CC4-42A7-85C7-9F4D1B14EA8D}" srcOrd="3" destOrd="0" presId="urn:microsoft.com/office/officeart/2018/2/layout/IconVerticalSolidList"/>
    <dgm:cxn modelId="{C911C662-1C33-447D-B4DE-49A247EE616F}" type="presParOf" srcId="{44D6BCFE-8B81-4F05-A67B-54373C39E30C}" destId="{E4A00E8D-B653-4A61-A848-6506A535A21D}" srcOrd="11" destOrd="0" presId="urn:microsoft.com/office/officeart/2018/2/layout/IconVerticalSolidList"/>
    <dgm:cxn modelId="{59448DFB-9B04-4129-A79E-7CEB2661B068}" type="presParOf" srcId="{44D6BCFE-8B81-4F05-A67B-54373C39E30C}" destId="{76CF32FC-9D48-4C67-B3CA-4AFAC6B07E46}" srcOrd="12" destOrd="0" presId="urn:microsoft.com/office/officeart/2018/2/layout/IconVerticalSolidList"/>
    <dgm:cxn modelId="{58D21971-A9B0-47CD-A125-1E2A69E2E174}" type="presParOf" srcId="{76CF32FC-9D48-4C67-B3CA-4AFAC6B07E46}" destId="{BE2A0ED2-AC81-4C0C-BFC6-DC8DC3720CE6}" srcOrd="0" destOrd="0" presId="urn:microsoft.com/office/officeart/2018/2/layout/IconVerticalSolidList"/>
    <dgm:cxn modelId="{3183DFF4-9549-439A-902F-0FF9862BEE60}" type="presParOf" srcId="{76CF32FC-9D48-4C67-B3CA-4AFAC6B07E46}" destId="{E69B511C-F3FE-45BE-A184-82660C2AD062}" srcOrd="1" destOrd="0" presId="urn:microsoft.com/office/officeart/2018/2/layout/IconVerticalSolidList"/>
    <dgm:cxn modelId="{B205224D-AC2A-46EA-A396-2639B3A506CE}" type="presParOf" srcId="{76CF32FC-9D48-4C67-B3CA-4AFAC6B07E46}" destId="{16600871-E970-4AC9-BC71-B8E782EDC9D3}" srcOrd="2" destOrd="0" presId="urn:microsoft.com/office/officeart/2018/2/layout/IconVerticalSolidList"/>
    <dgm:cxn modelId="{815E1289-7280-470A-8161-73B6697CAB9A}" type="presParOf" srcId="{76CF32FC-9D48-4C67-B3CA-4AFAC6B07E46}" destId="{7997025A-1E49-444B-82AE-E1D248E88FE4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7C544D-3023-4F60-B53C-768C848DCD54}" type="doc">
      <dgm:prSet loTypeId="urn:microsoft.com/office/officeart/2005/8/layout/vProcess5" loCatId="process" qsTypeId="urn:microsoft.com/office/officeart/2005/8/quickstyle/simple2" qsCatId="simple" csTypeId="urn:microsoft.com/office/officeart/2005/8/colors/colorful2" csCatId="colorful" phldr="1"/>
      <dgm:spPr/>
      <dgm:t>
        <a:bodyPr/>
        <a:lstStyle/>
        <a:p>
          <a:endParaRPr lang="fr-FR"/>
        </a:p>
      </dgm:t>
    </dgm:pt>
    <dgm:pt modelId="{7246902C-F380-4244-A491-559EECE887E9}">
      <dgm:prSet phldrT="[Texte]"/>
      <dgm:spPr/>
      <dgm:t>
        <a:bodyPr/>
        <a:lstStyle/>
        <a:p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La comptabilité = </a:t>
          </a:r>
          <a:r>
            <a:rPr lang="fr-FR" b="0" i="0" dirty="0">
              <a:latin typeface="Arial" panose="020B0604020202020204" pitchFamily="34" charset="0"/>
              <a:cs typeface="Arial" panose="020B0604020202020204" pitchFamily="34" charset="0"/>
            </a:rPr>
            <a:t>langage + système d’information</a:t>
          </a:r>
        </a:p>
        <a:p>
          <a:r>
            <a:rPr lang="fr-FR" b="0" i="0" dirty="0">
              <a:latin typeface="Arial" panose="020B0604020202020204" pitchFamily="34" charset="0"/>
              <a:cs typeface="Arial" panose="020B0604020202020204" pitchFamily="34" charset="0"/>
            </a:rPr>
            <a:t>Elle sert à communiquer</a:t>
          </a:r>
        </a:p>
        <a:p>
          <a:r>
            <a:rPr lang="fr-FR" b="0" i="0" dirty="0">
              <a:latin typeface="Arial" panose="020B0604020202020204" pitchFamily="34" charset="0"/>
              <a:cs typeface="Arial" panose="020B0604020202020204" pitchFamily="34" charset="0"/>
            </a:rPr>
            <a:t>Objectif : établir les états financiers (Bilan, Compte de résultat et Annexes) selon des règles reconnues par tous</a:t>
          </a:r>
          <a:endParaRPr lang="fr-FR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2C3550A-F1DD-4C8C-85ED-D96508225E30}" type="parTrans" cxnId="{E06F28F0-0187-4070-8490-6E6A76C82FBA}">
      <dgm:prSet/>
      <dgm:spPr/>
      <dgm:t>
        <a:bodyPr/>
        <a:lstStyle/>
        <a:p>
          <a:endParaRPr lang="fr-FR"/>
        </a:p>
      </dgm:t>
    </dgm:pt>
    <dgm:pt modelId="{19CBF419-9E92-4D5F-A934-D88F01C9054D}" type="sibTrans" cxnId="{E06F28F0-0187-4070-8490-6E6A76C82FBA}">
      <dgm:prSet/>
      <dgm:spPr/>
      <dgm:t>
        <a:bodyPr/>
        <a:lstStyle/>
        <a:p>
          <a:endParaRPr lang="fr-FR"/>
        </a:p>
      </dgm:t>
    </dgm:pt>
    <dgm:pt modelId="{E09E0457-75FF-4CC5-ACDD-DC23C6C27867}" type="pres">
      <dgm:prSet presAssocID="{787C544D-3023-4F60-B53C-768C848DCD54}" presName="outerComposite" presStyleCnt="0">
        <dgm:presLayoutVars>
          <dgm:chMax val="5"/>
          <dgm:dir/>
          <dgm:resizeHandles val="exact"/>
        </dgm:presLayoutVars>
      </dgm:prSet>
      <dgm:spPr/>
    </dgm:pt>
    <dgm:pt modelId="{0EB909FA-3E83-4472-B156-6405693699CD}" type="pres">
      <dgm:prSet presAssocID="{787C544D-3023-4F60-B53C-768C848DCD54}" presName="dummyMaxCanvas" presStyleCnt="0">
        <dgm:presLayoutVars/>
      </dgm:prSet>
      <dgm:spPr/>
    </dgm:pt>
    <dgm:pt modelId="{7F4B4098-570F-4890-A54C-721607CE468C}" type="pres">
      <dgm:prSet presAssocID="{787C544D-3023-4F60-B53C-768C848DCD54}" presName="OneNode_1" presStyleLbl="node1" presStyleIdx="0" presStyleCnt="1">
        <dgm:presLayoutVars>
          <dgm:bulletEnabled val="1"/>
        </dgm:presLayoutVars>
      </dgm:prSet>
      <dgm:spPr/>
    </dgm:pt>
  </dgm:ptLst>
  <dgm:cxnLst>
    <dgm:cxn modelId="{4826CC48-60AE-4276-B66F-CECE3DE7F140}" type="presOf" srcId="{787C544D-3023-4F60-B53C-768C848DCD54}" destId="{E09E0457-75FF-4CC5-ACDD-DC23C6C27867}" srcOrd="0" destOrd="0" presId="urn:microsoft.com/office/officeart/2005/8/layout/vProcess5"/>
    <dgm:cxn modelId="{1E66AF7F-AB9D-47D9-BE50-8858B0C7DDDC}" type="presOf" srcId="{7246902C-F380-4244-A491-559EECE887E9}" destId="{7F4B4098-570F-4890-A54C-721607CE468C}" srcOrd="0" destOrd="0" presId="urn:microsoft.com/office/officeart/2005/8/layout/vProcess5"/>
    <dgm:cxn modelId="{E06F28F0-0187-4070-8490-6E6A76C82FBA}" srcId="{787C544D-3023-4F60-B53C-768C848DCD54}" destId="{7246902C-F380-4244-A491-559EECE887E9}" srcOrd="0" destOrd="0" parTransId="{C2C3550A-F1DD-4C8C-85ED-D96508225E30}" sibTransId="{19CBF419-9E92-4D5F-A934-D88F01C9054D}"/>
    <dgm:cxn modelId="{FF50C912-224B-410A-BCC5-0460D63DCC60}" type="presParOf" srcId="{E09E0457-75FF-4CC5-ACDD-DC23C6C27867}" destId="{0EB909FA-3E83-4472-B156-6405693699CD}" srcOrd="0" destOrd="0" presId="urn:microsoft.com/office/officeart/2005/8/layout/vProcess5"/>
    <dgm:cxn modelId="{93D20FDF-1AAD-4386-A63C-B4F3862EAB7E}" type="presParOf" srcId="{E09E0457-75FF-4CC5-ACDD-DC23C6C27867}" destId="{7F4B4098-570F-4890-A54C-721607CE468C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73343F-DD12-4BA2-8BBA-CD07E5F9273F}" type="doc">
      <dgm:prSet loTypeId="urn:microsoft.com/office/officeart/2005/8/layout/vList2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D91EAD48-3DB4-4D5A-843E-F92D35319ECA}">
      <dgm:prSet/>
      <dgm:spPr/>
      <dgm:t>
        <a:bodyPr/>
        <a:lstStyle/>
        <a:p>
          <a:r>
            <a:rPr lang="fr-FR" b="0" i="0" dirty="0"/>
            <a:t>Le </a:t>
          </a:r>
          <a:r>
            <a:rPr lang="fr-FR" b="1" i="0" dirty="0"/>
            <a:t>régime simplifié d'imposition</a:t>
          </a:r>
          <a:r>
            <a:rPr lang="fr-FR" b="0" i="0" dirty="0"/>
            <a:t> s'applique de plein droit aux entreprises dont le CA HT annuel n'excède pas : </a:t>
          </a:r>
          <a:endParaRPr lang="en-US" dirty="0"/>
        </a:p>
      </dgm:t>
    </dgm:pt>
    <dgm:pt modelId="{9445AAEB-51C6-431E-AD22-8098DEF2F289}" type="parTrans" cxnId="{33897A62-79CA-43CB-8AE6-603B828EE8C7}">
      <dgm:prSet/>
      <dgm:spPr/>
      <dgm:t>
        <a:bodyPr/>
        <a:lstStyle/>
        <a:p>
          <a:endParaRPr lang="en-US"/>
        </a:p>
      </dgm:t>
    </dgm:pt>
    <dgm:pt modelId="{DFFDF550-BDA1-4009-9F0F-987DA95F59F2}" type="sibTrans" cxnId="{33897A62-79CA-43CB-8AE6-603B828EE8C7}">
      <dgm:prSet/>
      <dgm:spPr/>
      <dgm:t>
        <a:bodyPr/>
        <a:lstStyle/>
        <a:p>
          <a:endParaRPr lang="en-US"/>
        </a:p>
      </dgm:t>
    </dgm:pt>
    <dgm:pt modelId="{7943FF49-FF0D-42B4-8821-2692431364FB}">
      <dgm:prSet custT="1"/>
      <dgm:spPr/>
      <dgm:t>
        <a:bodyPr/>
        <a:lstStyle/>
        <a:p>
          <a:r>
            <a:rPr lang="fr-FR" sz="3200" b="0" i="0" dirty="0"/>
            <a:t>818 000 euros pour les ventes</a:t>
          </a:r>
          <a:endParaRPr lang="en-US" sz="3200" dirty="0"/>
        </a:p>
      </dgm:t>
    </dgm:pt>
    <dgm:pt modelId="{0A7DF56F-34B9-4AB3-A4F1-86C2685C8262}" type="parTrans" cxnId="{C5297E9C-7E6B-48E4-A613-D387B663FA72}">
      <dgm:prSet/>
      <dgm:spPr/>
      <dgm:t>
        <a:bodyPr/>
        <a:lstStyle/>
        <a:p>
          <a:endParaRPr lang="en-US"/>
        </a:p>
      </dgm:t>
    </dgm:pt>
    <dgm:pt modelId="{267F016D-5254-4A33-AA10-1D92E945E23E}" type="sibTrans" cxnId="{C5297E9C-7E6B-48E4-A613-D387B663FA72}">
      <dgm:prSet/>
      <dgm:spPr/>
      <dgm:t>
        <a:bodyPr/>
        <a:lstStyle/>
        <a:p>
          <a:endParaRPr lang="en-US"/>
        </a:p>
      </dgm:t>
    </dgm:pt>
    <dgm:pt modelId="{B29297AB-5A1A-4A09-AA32-4DF242C8FBAF}">
      <dgm:prSet custT="1"/>
      <dgm:spPr/>
      <dgm:t>
        <a:bodyPr/>
        <a:lstStyle/>
        <a:p>
          <a:r>
            <a:rPr lang="fr-FR" sz="3200" b="0" i="0" dirty="0"/>
            <a:t>247 000 euros pour les prestations de services</a:t>
          </a:r>
          <a:endParaRPr lang="en-US" sz="3200" dirty="0"/>
        </a:p>
      </dgm:t>
    </dgm:pt>
    <dgm:pt modelId="{7C26C7AC-A969-4BA0-9729-D9695FFA8EA5}" type="parTrans" cxnId="{530695E9-1601-4613-A393-9CBCB5C54971}">
      <dgm:prSet/>
      <dgm:spPr/>
      <dgm:t>
        <a:bodyPr/>
        <a:lstStyle/>
        <a:p>
          <a:endParaRPr lang="en-US"/>
        </a:p>
      </dgm:t>
    </dgm:pt>
    <dgm:pt modelId="{EDEC193F-6B8C-4C0D-92A6-D7AA0A85D5D1}" type="sibTrans" cxnId="{530695E9-1601-4613-A393-9CBCB5C54971}">
      <dgm:prSet/>
      <dgm:spPr/>
      <dgm:t>
        <a:bodyPr/>
        <a:lstStyle/>
        <a:p>
          <a:endParaRPr lang="en-US"/>
        </a:p>
      </dgm:t>
    </dgm:pt>
    <dgm:pt modelId="{9A6A4961-85AB-42B0-89E5-404C03B8921D}" type="pres">
      <dgm:prSet presAssocID="{0773343F-DD12-4BA2-8BBA-CD07E5F9273F}" presName="linear" presStyleCnt="0">
        <dgm:presLayoutVars>
          <dgm:animLvl val="lvl"/>
          <dgm:resizeHandles val="exact"/>
        </dgm:presLayoutVars>
      </dgm:prSet>
      <dgm:spPr/>
    </dgm:pt>
    <dgm:pt modelId="{F6EFDBD0-23BD-4CF9-912D-566EC2A87C70}" type="pres">
      <dgm:prSet presAssocID="{D91EAD48-3DB4-4D5A-843E-F92D35319ECA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75FAF4F3-A026-415B-B14D-F8B7F74803FC}" type="pres">
      <dgm:prSet presAssocID="{DFFDF550-BDA1-4009-9F0F-987DA95F59F2}" presName="spacer" presStyleCnt="0"/>
      <dgm:spPr/>
    </dgm:pt>
    <dgm:pt modelId="{4C1CF978-27D6-4FA3-AF9A-8C4CDBDA42F5}" type="pres">
      <dgm:prSet presAssocID="{7943FF49-FF0D-42B4-8821-2692431364FB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B3D3237B-45B1-4643-85DC-A8BFE0C93109}" type="pres">
      <dgm:prSet presAssocID="{267F016D-5254-4A33-AA10-1D92E945E23E}" presName="spacer" presStyleCnt="0"/>
      <dgm:spPr/>
    </dgm:pt>
    <dgm:pt modelId="{A5EC5523-B81E-48DB-8CB3-5554ECBA2019}" type="pres">
      <dgm:prSet presAssocID="{B29297AB-5A1A-4A09-AA32-4DF242C8FBAF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C03B9704-CB68-49DC-803E-46FB75C52732}" type="presOf" srcId="{D91EAD48-3DB4-4D5A-843E-F92D35319ECA}" destId="{F6EFDBD0-23BD-4CF9-912D-566EC2A87C70}" srcOrd="0" destOrd="0" presId="urn:microsoft.com/office/officeart/2005/8/layout/vList2"/>
    <dgm:cxn modelId="{9D7A0022-89CA-4672-9A5B-BECF11C52FA5}" type="presOf" srcId="{B29297AB-5A1A-4A09-AA32-4DF242C8FBAF}" destId="{A5EC5523-B81E-48DB-8CB3-5554ECBA2019}" srcOrd="0" destOrd="0" presId="urn:microsoft.com/office/officeart/2005/8/layout/vList2"/>
    <dgm:cxn modelId="{33897A62-79CA-43CB-8AE6-603B828EE8C7}" srcId="{0773343F-DD12-4BA2-8BBA-CD07E5F9273F}" destId="{D91EAD48-3DB4-4D5A-843E-F92D35319ECA}" srcOrd="0" destOrd="0" parTransId="{9445AAEB-51C6-431E-AD22-8098DEF2F289}" sibTransId="{DFFDF550-BDA1-4009-9F0F-987DA95F59F2}"/>
    <dgm:cxn modelId="{C5297E9C-7E6B-48E4-A613-D387B663FA72}" srcId="{0773343F-DD12-4BA2-8BBA-CD07E5F9273F}" destId="{7943FF49-FF0D-42B4-8821-2692431364FB}" srcOrd="1" destOrd="0" parTransId="{0A7DF56F-34B9-4AB3-A4F1-86C2685C8262}" sibTransId="{267F016D-5254-4A33-AA10-1D92E945E23E}"/>
    <dgm:cxn modelId="{E4027CA5-04C4-42E5-B9F6-1C1B703D064F}" type="presOf" srcId="{7943FF49-FF0D-42B4-8821-2692431364FB}" destId="{4C1CF978-27D6-4FA3-AF9A-8C4CDBDA42F5}" srcOrd="0" destOrd="0" presId="urn:microsoft.com/office/officeart/2005/8/layout/vList2"/>
    <dgm:cxn modelId="{530695E9-1601-4613-A393-9CBCB5C54971}" srcId="{0773343F-DD12-4BA2-8BBA-CD07E5F9273F}" destId="{B29297AB-5A1A-4A09-AA32-4DF242C8FBAF}" srcOrd="2" destOrd="0" parTransId="{7C26C7AC-A969-4BA0-9729-D9695FFA8EA5}" sibTransId="{EDEC193F-6B8C-4C0D-92A6-D7AA0A85D5D1}"/>
    <dgm:cxn modelId="{B7C1BAF8-00CE-4706-8206-402859E69749}" type="presOf" srcId="{0773343F-DD12-4BA2-8BBA-CD07E5F9273F}" destId="{9A6A4961-85AB-42B0-89E5-404C03B8921D}" srcOrd="0" destOrd="0" presId="urn:microsoft.com/office/officeart/2005/8/layout/vList2"/>
    <dgm:cxn modelId="{5ABB0B0C-C2AB-4664-A7FB-9A0636128FFF}" type="presParOf" srcId="{9A6A4961-85AB-42B0-89E5-404C03B8921D}" destId="{F6EFDBD0-23BD-4CF9-912D-566EC2A87C70}" srcOrd="0" destOrd="0" presId="urn:microsoft.com/office/officeart/2005/8/layout/vList2"/>
    <dgm:cxn modelId="{4791800D-3A38-4837-B878-7691A5538362}" type="presParOf" srcId="{9A6A4961-85AB-42B0-89E5-404C03B8921D}" destId="{75FAF4F3-A026-415B-B14D-F8B7F74803FC}" srcOrd="1" destOrd="0" presId="urn:microsoft.com/office/officeart/2005/8/layout/vList2"/>
    <dgm:cxn modelId="{4D8E00EE-1A83-4BB4-9C43-23474B132EC0}" type="presParOf" srcId="{9A6A4961-85AB-42B0-89E5-404C03B8921D}" destId="{4C1CF978-27D6-4FA3-AF9A-8C4CDBDA42F5}" srcOrd="2" destOrd="0" presId="urn:microsoft.com/office/officeart/2005/8/layout/vList2"/>
    <dgm:cxn modelId="{C174BD31-2E38-45BF-9D08-B6683D803126}" type="presParOf" srcId="{9A6A4961-85AB-42B0-89E5-404C03B8921D}" destId="{B3D3237B-45B1-4643-85DC-A8BFE0C93109}" srcOrd="3" destOrd="0" presId="urn:microsoft.com/office/officeart/2005/8/layout/vList2"/>
    <dgm:cxn modelId="{888E1684-2C00-4516-B237-AB0D4ED3ECE0}" type="presParOf" srcId="{9A6A4961-85AB-42B0-89E5-404C03B8921D}" destId="{A5EC5523-B81E-48DB-8CB3-5554ECBA2019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03A4E2-85EB-4630-BD42-818D47DD9797}">
      <dsp:nvSpPr>
        <dsp:cNvPr id="0" name=""/>
        <dsp:cNvSpPr/>
      </dsp:nvSpPr>
      <dsp:spPr>
        <a:xfrm>
          <a:off x="0" y="503"/>
          <a:ext cx="6588691" cy="693615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11F7FAB-4F4E-4299-A891-A5EF5E8257A1}">
      <dsp:nvSpPr>
        <dsp:cNvPr id="0" name=""/>
        <dsp:cNvSpPr/>
      </dsp:nvSpPr>
      <dsp:spPr>
        <a:xfrm>
          <a:off x="209818" y="156567"/>
          <a:ext cx="381488" cy="381488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CA80E8-489C-475D-8C18-EF27A6EAB0CE}">
      <dsp:nvSpPr>
        <dsp:cNvPr id="0" name=""/>
        <dsp:cNvSpPr/>
      </dsp:nvSpPr>
      <dsp:spPr>
        <a:xfrm>
          <a:off x="801126" y="503"/>
          <a:ext cx="5787564" cy="6936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3408" tIns="73408" rIns="73408" bIns="73408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RSI</a:t>
          </a:r>
        </a:p>
      </dsp:txBody>
      <dsp:txXfrm>
        <a:off x="801126" y="503"/>
        <a:ext cx="5787564" cy="693615"/>
      </dsp:txXfrm>
    </dsp:sp>
    <dsp:sp modelId="{ACE1DEE3-5DBF-4209-BC3F-77153AA21EF0}">
      <dsp:nvSpPr>
        <dsp:cNvPr id="0" name=""/>
        <dsp:cNvSpPr/>
      </dsp:nvSpPr>
      <dsp:spPr>
        <a:xfrm>
          <a:off x="0" y="867523"/>
          <a:ext cx="6588691" cy="693615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B8A3268-5C46-4EC8-8F37-82FDEF5DC58A}">
      <dsp:nvSpPr>
        <dsp:cNvPr id="0" name=""/>
        <dsp:cNvSpPr/>
      </dsp:nvSpPr>
      <dsp:spPr>
        <a:xfrm>
          <a:off x="209818" y="1023587"/>
          <a:ext cx="381488" cy="381488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0F255B-2A33-413E-BE80-0F29C01AD211}">
      <dsp:nvSpPr>
        <dsp:cNvPr id="0" name=""/>
        <dsp:cNvSpPr/>
      </dsp:nvSpPr>
      <dsp:spPr>
        <a:xfrm>
          <a:off x="801126" y="867523"/>
          <a:ext cx="5787564" cy="6936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3408" tIns="73408" rIns="73408" bIns="73408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PM</a:t>
          </a:r>
        </a:p>
      </dsp:txBody>
      <dsp:txXfrm>
        <a:off x="801126" y="867523"/>
        <a:ext cx="5787564" cy="693615"/>
      </dsp:txXfrm>
    </dsp:sp>
    <dsp:sp modelId="{F4C39026-A17F-4CD6-AE73-30F790063AA3}">
      <dsp:nvSpPr>
        <dsp:cNvPr id="0" name=""/>
        <dsp:cNvSpPr/>
      </dsp:nvSpPr>
      <dsp:spPr>
        <a:xfrm>
          <a:off x="0" y="1734543"/>
          <a:ext cx="6588691" cy="693615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BB1DF5A-3E2C-4C21-8D06-13C49A4AB1A3}">
      <dsp:nvSpPr>
        <dsp:cNvPr id="0" name=""/>
        <dsp:cNvSpPr/>
      </dsp:nvSpPr>
      <dsp:spPr>
        <a:xfrm>
          <a:off x="209818" y="1890607"/>
          <a:ext cx="381488" cy="381488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5589111-C90F-4327-83E7-E170428FC020}">
      <dsp:nvSpPr>
        <dsp:cNvPr id="0" name=""/>
        <dsp:cNvSpPr/>
      </dsp:nvSpPr>
      <dsp:spPr>
        <a:xfrm>
          <a:off x="801126" y="1734543"/>
          <a:ext cx="5787564" cy="6936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3408" tIns="73408" rIns="73408" bIns="73408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CH</a:t>
          </a:r>
        </a:p>
      </dsp:txBody>
      <dsp:txXfrm>
        <a:off x="801126" y="1734543"/>
        <a:ext cx="5787564" cy="693615"/>
      </dsp:txXfrm>
    </dsp:sp>
    <dsp:sp modelId="{37F0C475-4C58-4DA5-BA88-E94F51CC98CB}">
      <dsp:nvSpPr>
        <dsp:cNvPr id="0" name=""/>
        <dsp:cNvSpPr/>
      </dsp:nvSpPr>
      <dsp:spPr>
        <a:xfrm>
          <a:off x="0" y="2601563"/>
          <a:ext cx="6588691" cy="693615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4714754-D045-4941-932A-78081CCBA8EB}">
      <dsp:nvSpPr>
        <dsp:cNvPr id="0" name=""/>
        <dsp:cNvSpPr/>
      </dsp:nvSpPr>
      <dsp:spPr>
        <a:xfrm>
          <a:off x="209818" y="2757627"/>
          <a:ext cx="381488" cy="381488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B1AC777-8B37-41E6-8B9B-E787B9FE9935}">
      <dsp:nvSpPr>
        <dsp:cNvPr id="0" name=""/>
        <dsp:cNvSpPr/>
      </dsp:nvSpPr>
      <dsp:spPr>
        <a:xfrm>
          <a:off x="801126" y="2601563"/>
          <a:ext cx="5787564" cy="6936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3408" tIns="73408" rIns="73408" bIns="73408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P</a:t>
          </a:r>
        </a:p>
      </dsp:txBody>
      <dsp:txXfrm>
        <a:off x="801126" y="2601563"/>
        <a:ext cx="5787564" cy="693615"/>
      </dsp:txXfrm>
    </dsp:sp>
    <dsp:sp modelId="{B3F5ECC9-F47C-4643-8D49-0B497267BDC4}">
      <dsp:nvSpPr>
        <dsp:cNvPr id="0" name=""/>
        <dsp:cNvSpPr/>
      </dsp:nvSpPr>
      <dsp:spPr>
        <a:xfrm>
          <a:off x="0" y="3468583"/>
          <a:ext cx="6588691" cy="693615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02F4037-266A-437D-9094-0B6BE43220FF}">
      <dsp:nvSpPr>
        <dsp:cNvPr id="0" name=""/>
        <dsp:cNvSpPr/>
      </dsp:nvSpPr>
      <dsp:spPr>
        <a:xfrm>
          <a:off x="209818" y="3624647"/>
          <a:ext cx="381488" cy="381488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9A83D0-4362-4306-BBB0-799F5A93163B}">
      <dsp:nvSpPr>
        <dsp:cNvPr id="0" name=""/>
        <dsp:cNvSpPr/>
      </dsp:nvSpPr>
      <dsp:spPr>
        <a:xfrm>
          <a:off x="801126" y="3468583"/>
          <a:ext cx="5787564" cy="6936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3408" tIns="73408" rIns="73408" bIns="73408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NC</a:t>
          </a:r>
        </a:p>
      </dsp:txBody>
      <dsp:txXfrm>
        <a:off x="801126" y="3468583"/>
        <a:ext cx="5787564" cy="693615"/>
      </dsp:txXfrm>
    </dsp:sp>
    <dsp:sp modelId="{80F276E8-A2D9-4597-9B86-6B626CFEEE84}">
      <dsp:nvSpPr>
        <dsp:cNvPr id="0" name=""/>
        <dsp:cNvSpPr/>
      </dsp:nvSpPr>
      <dsp:spPr>
        <a:xfrm>
          <a:off x="0" y="4335603"/>
          <a:ext cx="6588691" cy="693615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EE41791-8DD4-4DB1-8D78-A7C58F61F763}">
      <dsp:nvSpPr>
        <dsp:cNvPr id="0" name=""/>
        <dsp:cNvSpPr/>
      </dsp:nvSpPr>
      <dsp:spPr>
        <a:xfrm>
          <a:off x="209818" y="4491666"/>
          <a:ext cx="381488" cy="381488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82ABBBD-0CC4-42A7-85C7-9F4D1B14EA8D}">
      <dsp:nvSpPr>
        <dsp:cNvPr id="0" name=""/>
        <dsp:cNvSpPr/>
      </dsp:nvSpPr>
      <dsp:spPr>
        <a:xfrm>
          <a:off x="801126" y="4335603"/>
          <a:ext cx="5787564" cy="6936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3408" tIns="73408" rIns="73408" bIns="73408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IBO</a:t>
          </a:r>
        </a:p>
      </dsp:txBody>
      <dsp:txXfrm>
        <a:off x="801126" y="4335603"/>
        <a:ext cx="5787564" cy="693615"/>
      </dsp:txXfrm>
    </dsp:sp>
    <dsp:sp modelId="{BE2A0ED2-AC81-4C0C-BFC6-DC8DC3720CE6}">
      <dsp:nvSpPr>
        <dsp:cNvPr id="0" name=""/>
        <dsp:cNvSpPr/>
      </dsp:nvSpPr>
      <dsp:spPr>
        <a:xfrm>
          <a:off x="0" y="5202623"/>
          <a:ext cx="6588691" cy="693615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9B511C-F3FE-45BE-A184-82660C2AD062}">
      <dsp:nvSpPr>
        <dsp:cNvPr id="0" name=""/>
        <dsp:cNvSpPr/>
      </dsp:nvSpPr>
      <dsp:spPr>
        <a:xfrm>
          <a:off x="209818" y="5358686"/>
          <a:ext cx="381488" cy="381488"/>
        </a:xfrm>
        <a:prstGeom prst="rect">
          <a:avLst/>
        </a:prstGeom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97025A-1E49-444B-82AE-E1D248E88FE4}">
      <dsp:nvSpPr>
        <dsp:cNvPr id="0" name=""/>
        <dsp:cNvSpPr/>
      </dsp:nvSpPr>
      <dsp:spPr>
        <a:xfrm>
          <a:off x="801126" y="5202623"/>
          <a:ext cx="5787564" cy="6936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3408" tIns="73408" rIns="73408" bIns="73408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SE</a:t>
          </a:r>
        </a:p>
      </dsp:txBody>
      <dsp:txXfrm>
        <a:off x="801126" y="5202623"/>
        <a:ext cx="5787564" cy="69361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4B4098-570F-4890-A54C-721607CE468C}">
      <dsp:nvSpPr>
        <dsp:cNvPr id="0" name=""/>
        <dsp:cNvSpPr/>
      </dsp:nvSpPr>
      <dsp:spPr>
        <a:xfrm>
          <a:off x="0" y="1247023"/>
          <a:ext cx="10576558" cy="2494046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100" kern="1200" dirty="0">
              <a:latin typeface="Arial" panose="020B0604020202020204" pitchFamily="34" charset="0"/>
              <a:cs typeface="Arial" panose="020B0604020202020204" pitchFamily="34" charset="0"/>
            </a:rPr>
            <a:t>La comptabilité = </a:t>
          </a:r>
          <a:r>
            <a:rPr lang="fr-FR" sz="3100" b="0" i="0" kern="1200" dirty="0">
              <a:latin typeface="Arial" panose="020B0604020202020204" pitchFamily="34" charset="0"/>
              <a:cs typeface="Arial" panose="020B0604020202020204" pitchFamily="34" charset="0"/>
            </a:rPr>
            <a:t>langage + système d’information</a:t>
          </a:r>
        </a:p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100" b="0" i="0" kern="1200" dirty="0">
              <a:latin typeface="Arial" panose="020B0604020202020204" pitchFamily="34" charset="0"/>
              <a:cs typeface="Arial" panose="020B0604020202020204" pitchFamily="34" charset="0"/>
            </a:rPr>
            <a:t>Elle sert à communiquer</a:t>
          </a:r>
        </a:p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100" b="0" i="0" kern="1200" dirty="0">
              <a:latin typeface="Arial" panose="020B0604020202020204" pitchFamily="34" charset="0"/>
              <a:cs typeface="Arial" panose="020B0604020202020204" pitchFamily="34" charset="0"/>
            </a:rPr>
            <a:t>Objectif : établir les états financiers (Bilan, Compte de résultat et Annexes) selon des règles reconnues par tous</a:t>
          </a:r>
          <a:endParaRPr lang="fr-FR" sz="3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3048" y="1320071"/>
        <a:ext cx="10430462" cy="234795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EFDBD0-23BD-4CF9-912D-566EC2A87C70}">
      <dsp:nvSpPr>
        <dsp:cNvPr id="0" name=""/>
        <dsp:cNvSpPr/>
      </dsp:nvSpPr>
      <dsp:spPr>
        <a:xfrm>
          <a:off x="0" y="355536"/>
          <a:ext cx="5962720" cy="137475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500" b="0" i="0" kern="1200" dirty="0"/>
            <a:t>Le </a:t>
          </a:r>
          <a:r>
            <a:rPr lang="fr-FR" sz="2500" b="1" i="0" kern="1200" dirty="0"/>
            <a:t>régime simplifié d'imposition</a:t>
          </a:r>
          <a:r>
            <a:rPr lang="fr-FR" sz="2500" b="0" i="0" kern="1200" dirty="0"/>
            <a:t> s'applique de plein droit aux entreprises dont le CA HT annuel n'excède pas : </a:t>
          </a:r>
          <a:endParaRPr lang="en-US" sz="2500" kern="1200" dirty="0"/>
        </a:p>
      </dsp:txBody>
      <dsp:txXfrm>
        <a:off x="67110" y="422646"/>
        <a:ext cx="5828500" cy="1240530"/>
      </dsp:txXfrm>
    </dsp:sp>
    <dsp:sp modelId="{4C1CF978-27D6-4FA3-AF9A-8C4CDBDA42F5}">
      <dsp:nvSpPr>
        <dsp:cNvPr id="0" name=""/>
        <dsp:cNvSpPr/>
      </dsp:nvSpPr>
      <dsp:spPr>
        <a:xfrm>
          <a:off x="0" y="1802286"/>
          <a:ext cx="5962720" cy="1374750"/>
        </a:xfrm>
        <a:prstGeom prst="roundRect">
          <a:avLst/>
        </a:prstGeom>
        <a:solidFill>
          <a:schemeClr val="accent5">
            <a:hueOff val="-3379271"/>
            <a:satOff val="-8710"/>
            <a:lumOff val="-588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200" b="0" i="0" kern="1200" dirty="0"/>
            <a:t>818 000 euros pour les ventes</a:t>
          </a:r>
          <a:endParaRPr lang="en-US" sz="3200" kern="1200" dirty="0"/>
        </a:p>
      </dsp:txBody>
      <dsp:txXfrm>
        <a:off x="67110" y="1869396"/>
        <a:ext cx="5828500" cy="1240530"/>
      </dsp:txXfrm>
    </dsp:sp>
    <dsp:sp modelId="{A5EC5523-B81E-48DB-8CB3-5554ECBA2019}">
      <dsp:nvSpPr>
        <dsp:cNvPr id="0" name=""/>
        <dsp:cNvSpPr/>
      </dsp:nvSpPr>
      <dsp:spPr>
        <a:xfrm>
          <a:off x="0" y="3249036"/>
          <a:ext cx="5962720" cy="1374750"/>
        </a:xfrm>
        <a:prstGeom prst="roundRect">
          <a:avLst/>
        </a:prstGeom>
        <a:solidFill>
          <a:schemeClr val="accent5">
            <a:hueOff val="-6758543"/>
            <a:satOff val="-17419"/>
            <a:lumOff val="-1176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200" b="0" i="0" kern="1200" dirty="0"/>
            <a:t>247 000 euros pour les prestations de services</a:t>
          </a:r>
          <a:endParaRPr lang="en-US" sz="3200" kern="1200" dirty="0"/>
        </a:p>
      </dsp:txBody>
      <dsp:txXfrm>
        <a:off x="67110" y="3316146"/>
        <a:ext cx="5828500" cy="12405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C74E31-4102-4DAB-AA30-205A8BC854D4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99E81F-EEE6-4E3A-AE16-C0BE10FF168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654023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667702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Tout le monde répond</a:t>
            </a:r>
          </a:p>
          <a:p>
            <a:pPr marL="228600" indent="-228600">
              <a:buAutoNum type="arabicParenR"/>
            </a:pPr>
            <a:r>
              <a:rPr lang="fr-FR" dirty="0"/>
              <a:t>Aucun piège</a:t>
            </a:r>
          </a:p>
          <a:p>
            <a:pPr marL="228600" indent="-228600">
              <a:buAutoNum type="arabicParenR"/>
            </a:pPr>
            <a:r>
              <a:rPr lang="fr-FR" dirty="0"/>
              <a:t>2Attention stocké ou non stocké</a:t>
            </a:r>
          </a:p>
          <a:p>
            <a:pPr marL="228600" indent="-228600">
              <a:buAutoNum type="arabicParenR"/>
            </a:pPr>
            <a:r>
              <a:rPr lang="fr-FR" dirty="0"/>
              <a:t>Attention 2183/6063/ ou pourquoi pas 607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746DE6-3336-457D-A091-FA20AC1C536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43962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Prêt garanti par l état PGE</a:t>
            </a:r>
          </a:p>
          <a:p>
            <a:r>
              <a:rPr lang="fr-FR" dirty="0"/>
              <a:t>Report d’échéances</a:t>
            </a:r>
          </a:p>
          <a:p>
            <a:r>
              <a:rPr lang="fr-FR" dirty="0"/>
              <a:t>Gestion des sinistres</a:t>
            </a:r>
          </a:p>
          <a:p>
            <a:r>
              <a:rPr lang="fr-FR" dirty="0"/>
              <a:t>Outils de travail a distance + mesures de sécurité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746DE6-3336-457D-A091-FA20AC1C536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20264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99E81F-EEE6-4E3A-AE16-C0BE10FF1680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77076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4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983355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7BD57D-84CD-4DA6-ACCF-8CEC063D82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9D19402C-4986-4F03-B149-B59478CBC5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6A17A5-4404-44D9-B645-2177629EB8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036A295-F235-411B-8653-78D5CFEBA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4D0148C-2377-437A-9B96-C1D01D45C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924178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CF77D9-A2E2-47AF-9DA6-3E88E50ED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2BF1DE80-A284-4C12-8998-96E09ECD2B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39B5A0B-FBB5-4756-860F-875AB0CB74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42CC808-89A4-47E4-B295-3F9116F829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D55BD20-72DC-487C-8B40-787775EBC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254805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C2353EA2-D366-4F02-B08A-5FEED95BD9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94DA6CD5-251E-4DFA-B380-5EB2130294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85B917B-2B60-4988-B84F-D3AFCB1DD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FB53DFA-3E34-4A01-A1E8-6D7B74457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8A9D7E8-2346-4B4B-9CF9-1C67D6668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22623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39147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55445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08427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77953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163619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76182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42420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2070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D533BA-64DD-46E7-AC37-8284A1B92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5FA018E-EDA2-4960-8996-9D0F0B3713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1E258E7-ED34-4740-9A51-3EF6365489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E4DA7DE-70E6-4FC4-AEB8-2B4A910288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74F055B-A12A-40C8-913E-87AC2D74D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42643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929496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50211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231673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5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dirty="0"/>
              <a:t>‹N°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88261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5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°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77951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5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°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97482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5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°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140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5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°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40820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5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°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05765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5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7742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A53301-5DB9-4753-ABD4-856DD5147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6065A32-834F-432D-A0D3-7ECBC848C5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616BCDE-E203-48ED-B45F-9D93DC3EF8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44B27C3-8E90-44EF-B2A0-1D4A9700A9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5169281-95B4-43D4-BD98-2009AB077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65402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5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°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55305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5/5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°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87364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5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°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76391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5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°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07707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3EE1FC-395B-4804-BCED-98B869CA37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D30819D-33A8-4726-B505-831ADB90F9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727D8D7-37DF-475A-8F8B-107336CE7F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26DA209-39AA-44B8-BA06-71668A7279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E701A22-5ACC-4505-9A5B-EFFCF1BEE0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A5BF9EC-FDAE-4527-A964-C32D4D885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2459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1E377DA-C3AC-4A42-9312-85C3B28A1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EECFD34-CCC4-4C10-95D2-1DCC3D8755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D248D42-AEE2-48BB-B8A6-37B3BF1EC7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FF54CA6-B4B3-4EBE-BAA9-8A083AD04B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CB67F1B9-3210-4603-A593-82AA147797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A4FE2936-F0AC-4E86-9BB9-6C88937F1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D4B4DA8C-4CAE-47BB-B5D8-D3CD8CA087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8F733564-54DF-4A81-A1E0-E16BDFCCC3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5600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6106E18-40BE-4CE6-A1DE-51E2FCB71E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C9E90AC-A901-4B3B-8F1A-62F80383E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B69960F-910E-441F-9234-4EFA031749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DEAD386-BAAD-4887-AEC1-ACEC7AC75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708421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EA3A60B-5261-4319-9606-C7A19FE79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CD7E47D-E0D5-4EA3-A174-877281D1E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BBA8F0E-BF11-4E0E-B6B3-0C4D3ED9A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94231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0D5B282-2CDC-43BA-91BF-BB825DDC3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B2B1462-82C2-41F9-B928-24CD0E058B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8E6443F-D9C8-4B0A-A85E-AFB98C1784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E58546B2-B4AD-4632-A7F6-E278F595C8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95E8C30-5617-4C3D-86F5-1BB6370D38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698214D-67A4-4095-A830-2541FC31FF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1998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B9969A8-DB1E-4329-86AA-AAC523FDA2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7A97373-2753-4E91-A499-97DCFA713F0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E0A5C63-7589-47D3-A6A8-2BAA1AA21C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658AF3C-8B47-4456-B292-94827E8D00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A94149C-1965-48BE-A21B-231EFD4799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75B3F0F-B380-4E1B-AC33-1610717B8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355383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B24DAE3-D939-4C4D-88F9-662ED8E02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0D21944-0B8F-4C3A-9BCA-D8EF26A831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B3C1B60-F7FD-45E2-AFE6-969B7E482D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AAC662-8F7E-46FF-BF45-54D2733F0C8C}" type="datetimeFigureOut">
              <a:rPr lang="fr-FR" smtClean="0"/>
              <a:t>05/05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66FD234-03EA-4C46-8B22-CFC6DD2300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10ED5CD-B777-437E-B0F8-CFA32F5B35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1814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302334-7E8B-4320-A1E2-4B05AC15A670}" type="datetimeFigureOut">
              <a:rPr lang="fr-FR" smtClean="0"/>
              <a:pPr/>
              <a:t>05/05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77264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5/5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N°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7339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4.jpe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hyperlink" Target="https://espritscience.blogspot.com/2008/01/du-rapport-des-temps.html" TargetMode="External"/><Relationship Id="rId4" Type="http://schemas.openxmlformats.org/officeDocument/2006/relationships/image" Target="../media/image30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-expert-comptable.com/fiches-pratiques/qu-est-ce-qu-un-bilan.html" TargetMode="External"/><Relationship Id="rId2" Type="http://schemas.openxmlformats.org/officeDocument/2006/relationships/hyperlink" Target="https://www.l-expert-comptable.com/c/compte-de-resultat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F09AF2F-022D-42E7-9EE8-B11BCE898D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64614" y="1783959"/>
            <a:ext cx="4087306" cy="2889114"/>
          </a:xfrm>
        </p:spPr>
        <p:txBody>
          <a:bodyPr anchor="b">
            <a:normAutofit fontScale="90000"/>
          </a:bodyPr>
          <a:lstStyle/>
          <a:p>
            <a:pPr algn="l"/>
            <a:r>
              <a:rPr lang="fr-FR" sz="5400" dirty="0">
                <a:latin typeface="Arial" panose="020B0604020202020204" pitchFamily="34" charset="0"/>
                <a:cs typeface="Arial" panose="020B0604020202020204" pitchFamily="34" charset="0"/>
              </a:rPr>
              <a:t>Université de Montpellier</a:t>
            </a:r>
            <a:br>
              <a:rPr lang="fr-FR" sz="5400" dirty="0"/>
            </a:br>
            <a:endParaRPr lang="fr-FR" sz="5400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1349F9F-31B4-41DC-B4DB-C097467B5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4612" y="4750893"/>
            <a:ext cx="4489965" cy="1147863"/>
          </a:xfrm>
        </p:spPr>
        <p:txBody>
          <a:bodyPr anchor="t">
            <a:normAutofit fontScale="70000" lnSpcReduction="20000"/>
          </a:bodyPr>
          <a:lstStyle/>
          <a:p>
            <a:pPr algn="l"/>
            <a:endParaRPr lang="fr-FR" sz="2000" dirty="0"/>
          </a:p>
          <a:p>
            <a:pPr algn="l"/>
            <a:r>
              <a:rPr lang="fr-FR" sz="4000" dirty="0">
                <a:latin typeface="Arial" panose="020B0604020202020204" pitchFamily="34" charset="0"/>
                <a:cs typeface="Arial" panose="020B0604020202020204" pitchFamily="34" charset="0"/>
              </a:rPr>
              <a:t>Cours de comptabilité</a:t>
            </a:r>
          </a:p>
          <a:p>
            <a:pPr algn="l"/>
            <a:r>
              <a:rPr lang="fr-FR" sz="4000" dirty="0">
                <a:latin typeface="Arial" panose="020B0604020202020204" pitchFamily="34" charset="0"/>
                <a:cs typeface="Arial" panose="020B0604020202020204" pitchFamily="34" charset="0"/>
              </a:rPr>
              <a:t>07 mai 2021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49CC64F-7275-4E33-961B-0C5CDC4398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 flipV="1">
            <a:off x="1" y="0"/>
            <a:ext cx="7188051" cy="6858000"/>
          </a:xfrm>
          <a:custGeom>
            <a:avLst/>
            <a:gdLst>
              <a:gd name="connsiteX0" fmla="*/ 7188051 w 7188051"/>
              <a:gd name="connsiteY0" fmla="*/ 6858000 h 6858000"/>
              <a:gd name="connsiteX1" fmla="*/ 108694 w 7188051"/>
              <a:gd name="connsiteY1" fmla="*/ 6858000 h 6858000"/>
              <a:gd name="connsiteX2" fmla="*/ 79127 w 7188051"/>
              <a:gd name="connsiteY2" fmla="*/ 6681235 h 6858000"/>
              <a:gd name="connsiteX3" fmla="*/ 0 w 7188051"/>
              <a:gd name="connsiteY3" fmla="*/ 5565888 h 6858000"/>
              <a:gd name="connsiteX4" fmla="*/ 2190696 w 7188051"/>
              <a:gd name="connsiteY4" fmla="*/ 145339 h 6858000"/>
              <a:gd name="connsiteX5" fmla="*/ 2339431 w 7188051"/>
              <a:gd name="connsiteY5" fmla="*/ 0 h 6858000"/>
              <a:gd name="connsiteX6" fmla="*/ 7188051 w 718805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88051" h="6858000">
                <a:moveTo>
                  <a:pt x="7188051" y="6858000"/>
                </a:moveTo>
                <a:lnTo>
                  <a:pt x="108694" y="6858000"/>
                </a:lnTo>
                <a:lnTo>
                  <a:pt x="79127" y="6681235"/>
                </a:lnTo>
                <a:cubicBezTo>
                  <a:pt x="26981" y="6316967"/>
                  <a:pt x="0" y="5944579"/>
                  <a:pt x="0" y="5565888"/>
                </a:cubicBezTo>
                <a:cubicBezTo>
                  <a:pt x="0" y="3459953"/>
                  <a:pt x="834428" y="1548908"/>
                  <a:pt x="2190696" y="145339"/>
                </a:cubicBezTo>
                <a:lnTo>
                  <a:pt x="2339431" y="0"/>
                </a:lnTo>
                <a:lnTo>
                  <a:pt x="7188051" y="0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5" name="Picture 4" descr="Bibliothèque publique floue abstraite avec des étagères à livres">
            <a:extLst>
              <a:ext uri="{FF2B5EF4-FFF2-40B4-BE49-F238E27FC236}">
                <a16:creationId xmlns:a16="http://schemas.microsoft.com/office/drawing/2014/main" id="{7BB6D41E-7376-4805-B0B6-C72AFA381B6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625" r="26964" b="-1"/>
          <a:stretch/>
        </p:blipFill>
        <p:spPr>
          <a:xfrm>
            <a:off x="1" y="10"/>
            <a:ext cx="7028495" cy="6857990"/>
          </a:xfrm>
          <a:custGeom>
            <a:avLst/>
            <a:gdLst/>
            <a:ahLst/>
            <a:cxnLst/>
            <a:rect l="l" t="t" r="r" b="b"/>
            <a:pathLst>
              <a:path w="7028495" h="6858000">
                <a:moveTo>
                  <a:pt x="0" y="0"/>
                </a:moveTo>
                <a:lnTo>
                  <a:pt x="6915668" y="0"/>
                </a:lnTo>
                <a:lnTo>
                  <a:pt x="6952411" y="219663"/>
                </a:lnTo>
                <a:cubicBezTo>
                  <a:pt x="7002551" y="569921"/>
                  <a:pt x="7028495" y="927986"/>
                  <a:pt x="7028495" y="1292112"/>
                </a:cubicBezTo>
                <a:cubicBezTo>
                  <a:pt x="7028495" y="3343346"/>
                  <a:pt x="6205186" y="5202289"/>
                  <a:pt x="4870994" y="6556512"/>
                </a:cubicBezTo>
                <a:lnTo>
                  <a:pt x="4556185" y="6858000"/>
                </a:lnTo>
                <a:lnTo>
                  <a:pt x="0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486391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7DD77B92-CB36-4B20-A59A-59625E0F08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A5603D1-DB51-4210-BA4B-65CBE27875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065" y="1463040"/>
            <a:ext cx="3796306" cy="2690949"/>
          </a:xfrm>
        </p:spPr>
        <p:txBody>
          <a:bodyPr anchor="t">
            <a:normAutofit/>
          </a:bodyPr>
          <a:lstStyle/>
          <a:p>
            <a:r>
              <a:rPr lang="fr-FR" sz="4800"/>
              <a:t>Annexe =&gt; seuil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14B560F-9DD7-4302-A60B-EBD3EF59B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09667" y="4415246"/>
            <a:ext cx="11982332" cy="2087795"/>
            <a:chOff x="143163" y="5763486"/>
            <a:chExt cx="11982332" cy="739555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A9A4357-BD1D-4622-A4FE-766E6AB8DE8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flipH="1" flipV="1">
              <a:off x="357444" y="5763486"/>
              <a:ext cx="11768051" cy="73955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C21D6966-343E-49AC-A026-D2497E0C3C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43163" y="5763486"/>
              <a:ext cx="1" cy="739555"/>
            </a:xfrm>
            <a:prstGeom prst="line">
              <a:avLst/>
            </a:prstGeom>
            <a:ln w="1778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2C1BBA94-3F40-40AA-8BB9-E69E25E537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133706" y="587829"/>
            <a:ext cx="6505300" cy="568234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Espace réservé du contenu 2">
            <a:extLst>
              <a:ext uri="{FF2B5EF4-FFF2-40B4-BE49-F238E27FC236}">
                <a16:creationId xmlns:a16="http://schemas.microsoft.com/office/drawing/2014/main" id="{EB100AA5-719B-482D-AD64-94AEA13D441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81484125"/>
              </p:ext>
            </p:extLst>
          </p:nvPr>
        </p:nvGraphicFramePr>
        <p:xfrm>
          <a:off x="5407705" y="1014154"/>
          <a:ext cx="5962720" cy="49793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691594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77237E8-21DB-4BC5-9184-DCCA20BA3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nnexe</a:t>
            </a:r>
          </a:p>
        </p:txBody>
      </p:sp>
      <p:pic>
        <p:nvPicPr>
          <p:cNvPr id="5" name="Espace réservé du contenu 4">
            <a:extLst>
              <a:ext uri="{FF2B5EF4-FFF2-40B4-BE49-F238E27FC236}">
                <a16:creationId xmlns:a16="http://schemas.microsoft.com/office/drawing/2014/main" id="{0E64DBA3-EBAF-4221-AFBF-F6D5C3B664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2175" y="1377444"/>
            <a:ext cx="7195711" cy="4799519"/>
          </a:xfrm>
        </p:spPr>
      </p:pic>
    </p:spTree>
    <p:extLst>
      <p:ext uri="{BB962C8B-B14F-4D97-AF65-F5344CB8AC3E}">
        <p14:creationId xmlns:p14="http://schemas.microsoft.com/office/powerpoint/2010/main" val="36322794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CA78689-15AF-4CBC-BA75-0513BA6D2F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nnexe =&gt; réel simplifié (RSI) = Abrégé</a:t>
            </a:r>
          </a:p>
        </p:txBody>
      </p:sp>
      <p:pic>
        <p:nvPicPr>
          <p:cNvPr id="5" name="Espace réservé du contenu 4" descr="Une image contenant table&#10;&#10;Description générée automatiquement">
            <a:extLst>
              <a:ext uri="{FF2B5EF4-FFF2-40B4-BE49-F238E27FC236}">
                <a16:creationId xmlns:a16="http://schemas.microsoft.com/office/drawing/2014/main" id="{A1B3955C-1E52-4868-88E3-86980AAADFC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274" y="1825625"/>
            <a:ext cx="7461452" cy="4351338"/>
          </a:xfrm>
        </p:spPr>
      </p:pic>
    </p:spTree>
    <p:extLst>
      <p:ext uri="{BB962C8B-B14F-4D97-AF65-F5344CB8AC3E}">
        <p14:creationId xmlns:p14="http://schemas.microsoft.com/office/powerpoint/2010/main" val="13026386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6562DE1-D839-4D29-91A9-F867EDC78A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nnexe – Réel normal =&gt; Développé</a:t>
            </a:r>
          </a:p>
        </p:txBody>
      </p:sp>
      <p:pic>
        <p:nvPicPr>
          <p:cNvPr id="5" name="Espace réservé du contenu 4">
            <a:extLst>
              <a:ext uri="{FF2B5EF4-FFF2-40B4-BE49-F238E27FC236}">
                <a16:creationId xmlns:a16="http://schemas.microsoft.com/office/drawing/2014/main" id="{A28811F8-A801-4074-8F80-39E3CCDB035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851" y="1547387"/>
            <a:ext cx="8733420" cy="4629576"/>
          </a:xfrm>
        </p:spPr>
      </p:pic>
    </p:spTree>
    <p:extLst>
      <p:ext uri="{BB962C8B-B14F-4D97-AF65-F5344CB8AC3E}">
        <p14:creationId xmlns:p14="http://schemas.microsoft.com/office/powerpoint/2010/main" val="38174386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DB2A158-E8EB-4CBC-9E60-D27CB7251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nnexe – Réel normal =&gt; Développé</a:t>
            </a:r>
          </a:p>
        </p:txBody>
      </p:sp>
      <p:pic>
        <p:nvPicPr>
          <p:cNvPr id="5" name="Espace réservé du contenu 4" descr="Une image contenant table&#10;&#10;Description générée automatiquement">
            <a:extLst>
              <a:ext uri="{FF2B5EF4-FFF2-40B4-BE49-F238E27FC236}">
                <a16:creationId xmlns:a16="http://schemas.microsoft.com/office/drawing/2014/main" id="{0D81B00A-8ED3-4379-87C1-FCE091E7D99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6650" y="1825625"/>
            <a:ext cx="7798700" cy="4351338"/>
          </a:xfrm>
        </p:spPr>
      </p:pic>
    </p:spTree>
    <p:extLst>
      <p:ext uri="{BB962C8B-B14F-4D97-AF65-F5344CB8AC3E}">
        <p14:creationId xmlns:p14="http://schemas.microsoft.com/office/powerpoint/2010/main" val="18042795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079D9E9-43B7-4805-AED3-D036B78210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nnexe – Réel normal =&gt; Développé</a:t>
            </a:r>
          </a:p>
        </p:txBody>
      </p:sp>
      <p:pic>
        <p:nvPicPr>
          <p:cNvPr id="5" name="Espace réservé du contenu 4">
            <a:extLst>
              <a:ext uri="{FF2B5EF4-FFF2-40B4-BE49-F238E27FC236}">
                <a16:creationId xmlns:a16="http://schemas.microsoft.com/office/drawing/2014/main" id="{72072218-3AFE-4606-BCC7-19C2D79FBDD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5651" y="2081738"/>
            <a:ext cx="9840698" cy="3839111"/>
          </a:xfrm>
        </p:spPr>
      </p:pic>
    </p:spTree>
    <p:extLst>
      <p:ext uri="{BB962C8B-B14F-4D97-AF65-F5344CB8AC3E}">
        <p14:creationId xmlns:p14="http://schemas.microsoft.com/office/powerpoint/2010/main" val="3913042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1428070-036C-4031-BB54-196636C6C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1068050" cy="444500"/>
          </a:xfrm>
        </p:spPr>
        <p:txBody>
          <a:bodyPr>
            <a:normAutofit fontScale="90000"/>
          </a:bodyPr>
          <a:lstStyle/>
          <a:p>
            <a:r>
              <a:rPr lang="fr-FR" dirty="0"/>
              <a:t>Annexe régime réel normal</a:t>
            </a:r>
          </a:p>
        </p:txBody>
      </p:sp>
      <p:pic>
        <p:nvPicPr>
          <p:cNvPr id="5" name="Espace réservé du contenu 4">
            <a:extLst>
              <a:ext uri="{FF2B5EF4-FFF2-40B4-BE49-F238E27FC236}">
                <a16:creationId xmlns:a16="http://schemas.microsoft.com/office/drawing/2014/main" id="{2FFBB11C-26A8-4BC6-B3D0-756B331349B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00" y="1087733"/>
            <a:ext cx="9505950" cy="5679168"/>
          </a:xfrm>
        </p:spPr>
      </p:pic>
    </p:spTree>
    <p:extLst>
      <p:ext uri="{BB962C8B-B14F-4D97-AF65-F5344CB8AC3E}">
        <p14:creationId xmlns:p14="http://schemas.microsoft.com/office/powerpoint/2010/main" val="42347970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pace réservé du contenu 4" descr="Une image contenant table&#10;&#10;Description générée automatiquement">
            <a:extLst>
              <a:ext uri="{FF2B5EF4-FFF2-40B4-BE49-F238E27FC236}">
                <a16:creationId xmlns:a16="http://schemas.microsoft.com/office/drawing/2014/main" id="{FBD678D9-89DA-4554-8D55-138F9E7F4C6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308" y="293499"/>
            <a:ext cx="8917423" cy="6371086"/>
          </a:xfrm>
        </p:spPr>
      </p:pic>
    </p:spTree>
    <p:extLst>
      <p:ext uri="{BB962C8B-B14F-4D97-AF65-F5344CB8AC3E}">
        <p14:creationId xmlns:p14="http://schemas.microsoft.com/office/powerpoint/2010/main" val="9292352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9D9AE46-8DB6-4FDC-9304-0C5FDC4329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enseignements complémentaires - CR</a:t>
            </a:r>
          </a:p>
        </p:txBody>
      </p:sp>
      <p:pic>
        <p:nvPicPr>
          <p:cNvPr id="5" name="Espace réservé du contenu 4" descr="Une image contenant table&#10;&#10;Description générée automatiquement">
            <a:extLst>
              <a:ext uri="{FF2B5EF4-FFF2-40B4-BE49-F238E27FC236}">
                <a16:creationId xmlns:a16="http://schemas.microsoft.com/office/drawing/2014/main" id="{69AFCC5F-6C92-45E1-A4CE-CA21AAD4C5D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925" y="1902482"/>
            <a:ext cx="10991252" cy="4460218"/>
          </a:xfrm>
        </p:spPr>
      </p:pic>
    </p:spTree>
    <p:extLst>
      <p:ext uri="{BB962C8B-B14F-4D97-AF65-F5344CB8AC3E}">
        <p14:creationId xmlns:p14="http://schemas.microsoft.com/office/powerpoint/2010/main" val="7707315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6526EB7-72BE-4421-8597-8683660DF4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mortissement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EC82C3A-40BC-494C-B306-0C5FA4DB46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Le bilan nous informe que le volume immobilisations brutes augmentent entre N et N -1 passant de</a:t>
            </a:r>
          </a:p>
          <a:p>
            <a:r>
              <a:rPr lang="fr-FR" dirty="0"/>
              <a:t>850 000 € brut (valeur d’origine =  Ppe cout historique) en N -1 </a:t>
            </a:r>
          </a:p>
          <a:p>
            <a:r>
              <a:rPr lang="fr-FR" dirty="0"/>
              <a:t>à</a:t>
            </a:r>
          </a:p>
          <a:p>
            <a:r>
              <a:rPr lang="fr-FR" dirty="0"/>
              <a:t>1 050 000,00 (valeur d’origine) en N</a:t>
            </a:r>
          </a:p>
          <a:p>
            <a:endParaRPr lang="fr-FR" dirty="0"/>
          </a:p>
          <a:p>
            <a:r>
              <a:rPr lang="fr-FR" dirty="0"/>
              <a:t>Quelle est le montant des immobilisations </a:t>
            </a:r>
            <a:r>
              <a:rPr lang="fr-FR" dirty="0">
                <a:highlight>
                  <a:srgbClr val="FFFF00"/>
                </a:highlight>
              </a:rPr>
              <a:t>acquises</a:t>
            </a:r>
            <a:r>
              <a:rPr lang="fr-FR" dirty="0"/>
              <a:t> en N ?</a:t>
            </a:r>
          </a:p>
        </p:txBody>
      </p:sp>
    </p:spTree>
    <p:extLst>
      <p:ext uri="{BB962C8B-B14F-4D97-AF65-F5344CB8AC3E}">
        <p14:creationId xmlns:p14="http://schemas.microsoft.com/office/powerpoint/2010/main" val="8915779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C3FB199-37AF-4AEB-91D2-999973453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91889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évisionnel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46D878E7-F5C5-452B-937D-8840816B6ECF}"/>
              </a:ext>
            </a:extLst>
          </p:cNvPr>
          <p:cNvSpPr txBox="1"/>
          <p:nvPr/>
        </p:nvSpPr>
        <p:spPr>
          <a:xfrm>
            <a:off x="2843428" y="6003837"/>
            <a:ext cx="6505071" cy="4054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1400" dirty="0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90A39BD7-E179-4570-8079-E6A295B492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8899826"/>
              </p:ext>
            </p:extLst>
          </p:nvPr>
        </p:nvGraphicFramePr>
        <p:xfrm>
          <a:off x="121920" y="1193533"/>
          <a:ext cx="11460443" cy="4964311"/>
        </p:xfrm>
        <a:graphic>
          <a:graphicData uri="http://schemas.openxmlformats.org/drawingml/2006/table">
            <a:tbl>
              <a:tblPr firstRow="1" firstCol="1" bandRow="1">
                <a:solidFill>
                  <a:srgbClr val="F2F2F2">
                    <a:alpha val="30196"/>
                  </a:srgbClr>
                </a:solidFill>
              </a:tblPr>
              <a:tblGrid>
                <a:gridCol w="990464">
                  <a:extLst>
                    <a:ext uri="{9D8B030D-6E8A-4147-A177-3AD203B41FA5}">
                      <a16:colId xmlns:a16="http://schemas.microsoft.com/office/drawing/2014/main" val="421084245"/>
                    </a:ext>
                  </a:extLst>
                </a:gridCol>
                <a:gridCol w="10469979">
                  <a:extLst>
                    <a:ext uri="{9D8B030D-6E8A-4147-A177-3AD203B41FA5}">
                      <a16:colId xmlns:a16="http://schemas.microsoft.com/office/drawing/2014/main" val="3974086313"/>
                    </a:ext>
                  </a:extLst>
                </a:gridCol>
              </a:tblGrid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b="0" cap="none" spc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Séance</a:t>
                      </a:r>
                      <a:endParaRPr lang="fr-FR" sz="1500" b="0" cap="none" spc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19050" cap="flat" cmpd="sng" algn="ctr">
                      <a:noFill/>
                      <a:prstDash val="soli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b="0" cap="none" spc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Contenu des séances</a:t>
                      </a:r>
                      <a:endParaRPr lang="fr-FR" sz="1500" b="0" cap="none" spc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4008224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-2-3-4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ncepts et principes de base de la comptabilité – Le PCG – Les différentes classes – LAB -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2013335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-6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 comptabilisation – Les documents comptables – Les normes internationales =&gt; après le bilan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1204828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7-8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 compte de résultat - Analyse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772546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-10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 bilan – Analyse 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616633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1-12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 comptabilisation 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26539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3-14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s écritures – La TVA 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9858747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5-16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ettes à LT et autres dettes - les capitaux propres – Les provisions - Les immobilisations – IFRS 16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4203615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7-18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s écritures d’inventaire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09341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9-20</a:t>
                      </a: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nnexe - Révisions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796521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1-22</a:t>
                      </a: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evoir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48911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6914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C59EC8F-4220-43E8-B34B-CE46780BD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épons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C7B9686-745A-41A3-9A86-67F322430A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200 000,00 oui c’est possible mais pas certain</a:t>
            </a:r>
          </a:p>
          <a:p>
            <a:endParaRPr lang="fr-FR" dirty="0"/>
          </a:p>
          <a:p>
            <a:r>
              <a:rPr lang="fr-FR" dirty="0"/>
              <a:t>Si l’entreprise a vendu pour 800 000,00 € </a:t>
            </a:r>
          </a:p>
          <a:p>
            <a:pPr marL="0" indent="0">
              <a:buNone/>
            </a:pPr>
            <a:r>
              <a:rPr lang="fr-FR" dirty="0"/>
              <a:t>et réinvesti pour 1 000 000,00 cela fonctionne aussi ! L’augmentation en valeur absolue est bien de 200 000,00 € mais le montant des immobilisations </a:t>
            </a:r>
            <a:r>
              <a:rPr lang="fr-FR" dirty="0">
                <a:highlight>
                  <a:srgbClr val="FFFF00"/>
                </a:highlight>
              </a:rPr>
              <a:t>acquises</a:t>
            </a:r>
            <a:r>
              <a:rPr lang="fr-FR" dirty="0"/>
              <a:t> est de 1 000 000,00 €</a:t>
            </a:r>
          </a:p>
          <a:p>
            <a:endParaRPr lang="fr-FR" dirty="0"/>
          </a:p>
          <a:p>
            <a:r>
              <a:rPr lang="fr-FR" dirty="0"/>
              <a:t>Comment avoir l’information ? =&gt; Annexes</a:t>
            </a:r>
          </a:p>
        </p:txBody>
      </p:sp>
    </p:spTree>
    <p:extLst>
      <p:ext uri="{BB962C8B-B14F-4D97-AF65-F5344CB8AC3E}">
        <p14:creationId xmlns:p14="http://schemas.microsoft.com/office/powerpoint/2010/main" val="37394455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8CFDE9-57DF-4227-9839-5024439D60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660582" cy="759668"/>
          </a:xfrm>
        </p:spPr>
        <p:txBody>
          <a:bodyPr/>
          <a:lstStyle/>
          <a:p>
            <a:r>
              <a:rPr lang="fr-FR" dirty="0"/>
              <a:t>Amortissements</a:t>
            </a:r>
          </a:p>
        </p:txBody>
      </p:sp>
      <p:pic>
        <p:nvPicPr>
          <p:cNvPr id="5" name="Espace réservé du contenu 4" descr="Une image contenant table&#10;&#10;Description générée automatiquement">
            <a:extLst>
              <a:ext uri="{FF2B5EF4-FFF2-40B4-BE49-F238E27FC236}">
                <a16:creationId xmlns:a16="http://schemas.microsoft.com/office/drawing/2014/main" id="{6A4D1C79-5003-4B8F-82D9-C2BB259282E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351" y="1428958"/>
            <a:ext cx="7922103" cy="5156884"/>
          </a:xfrm>
        </p:spPr>
      </p:pic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345D64BE-9845-4C91-A6E1-09EDB99ADC65}"/>
              </a:ext>
            </a:extLst>
          </p:cNvPr>
          <p:cNvCxnSpPr/>
          <p:nvPr/>
        </p:nvCxnSpPr>
        <p:spPr>
          <a:xfrm flipH="1">
            <a:off x="8148680" y="882032"/>
            <a:ext cx="1416106" cy="679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ZoneTexte 7">
            <a:extLst>
              <a:ext uri="{FF2B5EF4-FFF2-40B4-BE49-F238E27FC236}">
                <a16:creationId xmlns:a16="http://schemas.microsoft.com/office/drawing/2014/main" id="{2108328F-98DF-435C-AAFB-7D5403C19381}"/>
              </a:ext>
            </a:extLst>
          </p:cNvPr>
          <p:cNvSpPr txBox="1"/>
          <p:nvPr/>
        </p:nvSpPr>
        <p:spPr>
          <a:xfrm>
            <a:off x="8245784" y="365125"/>
            <a:ext cx="2662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Augmentation</a:t>
            </a:r>
          </a:p>
        </p:txBody>
      </p:sp>
    </p:spTree>
    <p:extLst>
      <p:ext uri="{BB962C8B-B14F-4D97-AF65-F5344CB8AC3E}">
        <p14:creationId xmlns:p14="http://schemas.microsoft.com/office/powerpoint/2010/main" val="7139736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du contenu 8" descr="Une image contenant table&#10;&#10;Description générée automatiquement">
            <a:extLst>
              <a:ext uri="{FF2B5EF4-FFF2-40B4-BE49-F238E27FC236}">
                <a16:creationId xmlns:a16="http://schemas.microsoft.com/office/drawing/2014/main" id="{9AA3B267-6315-4167-9D7B-285EEF367D7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559" y="923926"/>
            <a:ext cx="10695391" cy="5712748"/>
          </a:xfrm>
        </p:spPr>
      </p:pic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57BC4E96-C0D7-470A-9A69-E1819F46E5AD}"/>
              </a:ext>
            </a:extLst>
          </p:cNvPr>
          <p:cNvCxnSpPr/>
          <p:nvPr/>
        </p:nvCxnSpPr>
        <p:spPr>
          <a:xfrm flipH="1">
            <a:off x="5581650" y="457200"/>
            <a:ext cx="3629025" cy="7429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>
            <a:extLst>
              <a:ext uri="{FF2B5EF4-FFF2-40B4-BE49-F238E27FC236}">
                <a16:creationId xmlns:a16="http://schemas.microsoft.com/office/drawing/2014/main" id="{CB679A3A-80DC-4D03-877A-68379AC71C85}"/>
              </a:ext>
            </a:extLst>
          </p:cNvPr>
          <p:cNvSpPr txBox="1"/>
          <p:nvPr/>
        </p:nvSpPr>
        <p:spPr>
          <a:xfrm>
            <a:off x="9411037" y="221326"/>
            <a:ext cx="21767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Diminution</a:t>
            </a:r>
          </a:p>
        </p:txBody>
      </p:sp>
    </p:spTree>
    <p:extLst>
      <p:ext uri="{BB962C8B-B14F-4D97-AF65-F5344CB8AC3E}">
        <p14:creationId xmlns:p14="http://schemas.microsoft.com/office/powerpoint/2010/main" val="7385209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CE1063C-26E9-451E-B581-F9094F771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5430" y="629268"/>
            <a:ext cx="6586491" cy="1286160"/>
          </a:xfrm>
        </p:spPr>
        <p:txBody>
          <a:bodyPr anchor="b">
            <a:normAutofit/>
          </a:bodyPr>
          <a:lstStyle/>
          <a:p>
            <a:r>
              <a:rPr lang="fr-FR" dirty="0"/>
              <a:t>Révision – Cas </a:t>
            </a:r>
            <a:r>
              <a:rPr lang="fr-FR" dirty="0" err="1"/>
              <a:t>Révis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547C894-6E87-49E2-8590-12B2A7E706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5431" y="2438400"/>
            <a:ext cx="6586489" cy="3785419"/>
          </a:xfrm>
        </p:spPr>
        <p:txBody>
          <a:bodyPr>
            <a:normAutofit/>
          </a:bodyPr>
          <a:lstStyle/>
          <a:p>
            <a:r>
              <a:rPr lang="fr-FR" sz="4000" dirty="0"/>
              <a:t>Les écritures</a:t>
            </a:r>
          </a:p>
        </p:txBody>
      </p:sp>
      <p:pic>
        <p:nvPicPr>
          <p:cNvPr id="5" name="Picture 4" descr="Notes adhésifs sur les murs de verre">
            <a:extLst>
              <a:ext uri="{FF2B5EF4-FFF2-40B4-BE49-F238E27FC236}">
                <a16:creationId xmlns:a16="http://schemas.microsoft.com/office/drawing/2014/main" id="{27D996A6-758F-4354-9504-B9EFAC8C865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236" r="27645" b="-1"/>
          <a:stretch/>
        </p:blipFill>
        <p:spPr>
          <a:xfrm>
            <a:off x="20" y="10"/>
            <a:ext cx="4635571" cy="6857990"/>
          </a:xfrm>
          <a:prstGeom prst="rect">
            <a:avLst/>
          </a:prstGeom>
          <a:effectLst/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F400EE-A8A5-48AF-B4D6-291B52C6F0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080934" y="2115117"/>
            <a:ext cx="6309360" cy="0"/>
          </a:xfrm>
          <a:prstGeom prst="line">
            <a:avLst/>
          </a:prstGeom>
          <a:ln w="19050">
            <a:solidFill>
              <a:srgbClr val="EB51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780699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6C06169-DBD6-4F7D-B44D-571BAABE33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as </a:t>
            </a:r>
            <a:r>
              <a:rPr lang="fr-FR" dirty="0" err="1"/>
              <a:t>Révis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AC304B4-7069-4E8B-885E-2CB3F0CEF2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pPr algn="just">
              <a:lnSpc>
                <a:spcPct val="150000"/>
              </a:lnSpc>
            </a:pPr>
            <a:r>
              <a:rPr lang="fr-FR" sz="3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us disposez des libellés suivants : date clôture au 31 décembre 2020</a:t>
            </a:r>
            <a:endParaRPr lang="fr-FR" sz="14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</a:pPr>
            <a:r>
              <a:rPr lang="fr-FR" sz="3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 société est OXAF, spécialisée dans la vente de produits agricoles. Opérations sur 2020</a:t>
            </a:r>
            <a:endParaRPr lang="fr-FR" sz="14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</a:pPr>
            <a:endParaRPr lang="fr-FR" sz="14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06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fr-FR" sz="3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nte d’une marchandise 500,00 € HT le 12 mai , achetée 280,00 € TTC le 8 avril</a:t>
            </a:r>
            <a:endParaRPr lang="fr-FR" sz="34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06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fr-FR" sz="3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cture honoraires d’avocat 390,00 € HT datée du 26 mai</a:t>
            </a:r>
            <a:endParaRPr lang="fr-FR" sz="34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06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fr-FR" sz="3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chèvement, le 15 juin, d’une construction estimée à 865 325,00 €. Le terrain ne nous appartient pas.				</a:t>
            </a:r>
            <a:endParaRPr lang="fr-FR" sz="34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06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fr-FR" sz="3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chat d’une tondeuse 780,00 € TTC le 17 juillet au fournisseur MECA</a:t>
            </a:r>
          </a:p>
          <a:p>
            <a:pPr marL="342900" lvl="0" indent="-342900" algn="l">
              <a:lnSpc>
                <a:spcPct val="106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fr-FR" sz="3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iement de la facture par virement  à MECA pour 780,00 € le 2 aout 2020		</a:t>
            </a:r>
            <a:endParaRPr lang="fr-FR" sz="34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783218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B55151D-D356-4DEE-95CC-42D02CE14A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sz="4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nte d’une marchandise 500€ HT le 12 mai , achetée 280 € TTC le 8 avril</a:t>
            </a:r>
            <a:br>
              <a:rPr lang="fr-FR" sz="44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fr-FR" dirty="0"/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CED21C36-6102-49AC-A35B-B21725F5310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81276046"/>
              </p:ext>
            </p:extLst>
          </p:nvPr>
        </p:nvGraphicFramePr>
        <p:xfrm>
          <a:off x="663547" y="2201033"/>
          <a:ext cx="10357806" cy="3479575"/>
        </p:xfrm>
        <a:graphic>
          <a:graphicData uri="http://schemas.openxmlformats.org/drawingml/2006/table">
            <a:tbl>
              <a:tblPr/>
              <a:tblGrid>
                <a:gridCol w="1131629">
                  <a:extLst>
                    <a:ext uri="{9D8B030D-6E8A-4147-A177-3AD203B41FA5}">
                      <a16:colId xmlns:a16="http://schemas.microsoft.com/office/drawing/2014/main" val="1764653521"/>
                    </a:ext>
                  </a:extLst>
                </a:gridCol>
                <a:gridCol w="2894002">
                  <a:extLst>
                    <a:ext uri="{9D8B030D-6E8A-4147-A177-3AD203B41FA5}">
                      <a16:colId xmlns:a16="http://schemas.microsoft.com/office/drawing/2014/main" val="971768728"/>
                    </a:ext>
                  </a:extLst>
                </a:gridCol>
                <a:gridCol w="1335694">
                  <a:extLst>
                    <a:ext uri="{9D8B030D-6E8A-4147-A177-3AD203B41FA5}">
                      <a16:colId xmlns:a16="http://schemas.microsoft.com/office/drawing/2014/main" val="3373026461"/>
                    </a:ext>
                  </a:extLst>
                </a:gridCol>
                <a:gridCol w="2448771">
                  <a:extLst>
                    <a:ext uri="{9D8B030D-6E8A-4147-A177-3AD203B41FA5}">
                      <a16:colId xmlns:a16="http://schemas.microsoft.com/office/drawing/2014/main" val="2740929224"/>
                    </a:ext>
                  </a:extLst>
                </a:gridCol>
                <a:gridCol w="1273855">
                  <a:extLst>
                    <a:ext uri="{9D8B030D-6E8A-4147-A177-3AD203B41FA5}">
                      <a16:colId xmlns:a16="http://schemas.microsoft.com/office/drawing/2014/main" val="312717372"/>
                    </a:ext>
                  </a:extLst>
                </a:gridCol>
                <a:gridCol w="1273855">
                  <a:extLst>
                    <a:ext uri="{9D8B030D-6E8A-4147-A177-3AD203B41FA5}">
                      <a16:colId xmlns:a16="http://schemas.microsoft.com/office/drawing/2014/main" val="4112650284"/>
                    </a:ext>
                  </a:extLst>
                </a:gridCol>
              </a:tblGrid>
              <a:tr h="695915">
                <a:tc>
                  <a:txBody>
                    <a:bodyPr/>
                    <a:lstStyle/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/05/20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9379014"/>
                  </a:ext>
                </a:extLst>
              </a:tr>
              <a:tr h="695915">
                <a:tc>
                  <a:txBody>
                    <a:bodyPr/>
                    <a:lstStyle/>
                    <a:p>
                      <a:pPr algn="l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 Unicode MS"/>
                        </a:rPr>
                        <a:t>411 </a:t>
                      </a:r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lien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6848896"/>
                  </a:ext>
                </a:extLst>
              </a:tr>
              <a:tr h="695915"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707</a:t>
                      </a:r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Ventes de marchandises à X</a:t>
                      </a:r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500,00</a:t>
                      </a:r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2416708"/>
                  </a:ext>
                </a:extLst>
              </a:tr>
              <a:tr h="695915"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7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tat, T.V.A collecté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4653995"/>
                  </a:ext>
                </a:extLst>
              </a:tr>
              <a:tr h="695915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140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4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4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42867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26719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D02F4F7-5103-43B4-9236-BEB279DD44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10830515" cy="1585056"/>
          </a:xfrm>
        </p:spPr>
        <p:txBody>
          <a:bodyPr>
            <a:normAutofit fontScale="90000"/>
          </a:bodyPr>
          <a:lstStyle/>
          <a:p>
            <a:r>
              <a:rPr lang="fr-FR" sz="4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cture honoraires d’avocat 390 € HT datée du 26 mai</a:t>
            </a:r>
            <a:br>
              <a:rPr lang="fr-FR" sz="44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fr-FR" dirty="0"/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B648CACA-EDB4-4BB7-9740-7B7160AFFC1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05659489"/>
              </p:ext>
            </p:extLst>
          </p:nvPr>
        </p:nvGraphicFramePr>
        <p:xfrm>
          <a:off x="922493" y="2184850"/>
          <a:ext cx="10431307" cy="4078385"/>
        </p:xfrm>
        <a:graphic>
          <a:graphicData uri="http://schemas.openxmlformats.org/drawingml/2006/table">
            <a:tbl>
              <a:tblPr/>
              <a:tblGrid>
                <a:gridCol w="1139659">
                  <a:extLst>
                    <a:ext uri="{9D8B030D-6E8A-4147-A177-3AD203B41FA5}">
                      <a16:colId xmlns:a16="http://schemas.microsoft.com/office/drawing/2014/main" val="1469492696"/>
                    </a:ext>
                  </a:extLst>
                </a:gridCol>
                <a:gridCol w="2768793">
                  <a:extLst>
                    <a:ext uri="{9D8B030D-6E8A-4147-A177-3AD203B41FA5}">
                      <a16:colId xmlns:a16="http://schemas.microsoft.com/office/drawing/2014/main" val="1623715988"/>
                    </a:ext>
                  </a:extLst>
                </a:gridCol>
                <a:gridCol w="1490917">
                  <a:extLst>
                    <a:ext uri="{9D8B030D-6E8A-4147-A177-3AD203B41FA5}">
                      <a16:colId xmlns:a16="http://schemas.microsoft.com/office/drawing/2014/main" val="3270562724"/>
                    </a:ext>
                  </a:extLst>
                </a:gridCol>
                <a:gridCol w="2466148">
                  <a:extLst>
                    <a:ext uri="{9D8B030D-6E8A-4147-A177-3AD203B41FA5}">
                      <a16:colId xmlns:a16="http://schemas.microsoft.com/office/drawing/2014/main" val="3116856012"/>
                    </a:ext>
                  </a:extLst>
                </a:gridCol>
                <a:gridCol w="1282895">
                  <a:extLst>
                    <a:ext uri="{9D8B030D-6E8A-4147-A177-3AD203B41FA5}">
                      <a16:colId xmlns:a16="http://schemas.microsoft.com/office/drawing/2014/main" val="1249726770"/>
                    </a:ext>
                  </a:extLst>
                </a:gridCol>
                <a:gridCol w="1282895">
                  <a:extLst>
                    <a:ext uri="{9D8B030D-6E8A-4147-A177-3AD203B41FA5}">
                      <a16:colId xmlns:a16="http://schemas.microsoft.com/office/drawing/2014/main" val="1896297096"/>
                    </a:ext>
                  </a:extLst>
                </a:gridCol>
              </a:tblGrid>
              <a:tr h="815677">
                <a:tc>
                  <a:txBody>
                    <a:bodyPr/>
                    <a:lstStyle/>
                    <a:p>
                      <a:pPr algn="just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6/05/20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9592518"/>
                  </a:ext>
                </a:extLst>
              </a:tr>
              <a:tr h="815677"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 Unicode MS"/>
                        </a:rPr>
                        <a:t>6226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onoraires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9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7011265"/>
                  </a:ext>
                </a:extLst>
              </a:tr>
              <a:tr h="815677"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6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Etat TVA déductible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78,00 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459712"/>
                  </a:ext>
                </a:extLst>
              </a:tr>
              <a:tr h="815677"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urnisseur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68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0160908"/>
                  </a:ext>
                </a:extLst>
              </a:tr>
              <a:tr h="815677">
                <a:tc>
                  <a:txBody>
                    <a:bodyPr/>
                    <a:lstStyle/>
                    <a:p>
                      <a:pPr algn="ct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180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89775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78593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51536B6-FDF2-41C5-BC65-FE28CF34F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722620"/>
          </a:xfrm>
        </p:spPr>
        <p:txBody>
          <a:bodyPr>
            <a:normAutofit fontScale="90000"/>
          </a:bodyPr>
          <a:lstStyle/>
          <a:p>
            <a:r>
              <a:rPr lang="fr-FR" sz="4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chèvement, le 15 avril, d’une construction, faite par nos soins, estimée à 865 325,00 €. Le terrain ne nous appartient pas.</a:t>
            </a:r>
            <a:endParaRPr lang="fr-FR" dirty="0"/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5B9D3698-7678-4FCD-B6B1-CE0BDBE4D25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40753988"/>
              </p:ext>
            </p:extLst>
          </p:nvPr>
        </p:nvGraphicFramePr>
        <p:xfrm>
          <a:off x="938677" y="2419519"/>
          <a:ext cx="10349712" cy="3657600"/>
        </p:xfrm>
        <a:graphic>
          <a:graphicData uri="http://schemas.openxmlformats.org/drawingml/2006/table">
            <a:tbl>
              <a:tblPr/>
              <a:tblGrid>
                <a:gridCol w="1130745">
                  <a:extLst>
                    <a:ext uri="{9D8B030D-6E8A-4147-A177-3AD203B41FA5}">
                      <a16:colId xmlns:a16="http://schemas.microsoft.com/office/drawing/2014/main" val="1062248139"/>
                    </a:ext>
                  </a:extLst>
                </a:gridCol>
                <a:gridCol w="2891741">
                  <a:extLst>
                    <a:ext uri="{9D8B030D-6E8A-4147-A177-3AD203B41FA5}">
                      <a16:colId xmlns:a16="http://schemas.microsoft.com/office/drawing/2014/main" val="3455540079"/>
                    </a:ext>
                  </a:extLst>
                </a:gridCol>
                <a:gridCol w="1334649">
                  <a:extLst>
                    <a:ext uri="{9D8B030D-6E8A-4147-A177-3AD203B41FA5}">
                      <a16:colId xmlns:a16="http://schemas.microsoft.com/office/drawing/2014/main" val="2751524443"/>
                    </a:ext>
                  </a:extLst>
                </a:gridCol>
                <a:gridCol w="2446857">
                  <a:extLst>
                    <a:ext uri="{9D8B030D-6E8A-4147-A177-3AD203B41FA5}">
                      <a16:colId xmlns:a16="http://schemas.microsoft.com/office/drawing/2014/main" val="322766536"/>
                    </a:ext>
                  </a:extLst>
                </a:gridCol>
                <a:gridCol w="1272860">
                  <a:extLst>
                    <a:ext uri="{9D8B030D-6E8A-4147-A177-3AD203B41FA5}">
                      <a16:colId xmlns:a16="http://schemas.microsoft.com/office/drawing/2014/main" val="3699281627"/>
                    </a:ext>
                  </a:extLst>
                </a:gridCol>
                <a:gridCol w="1272860">
                  <a:extLst>
                    <a:ext uri="{9D8B030D-6E8A-4147-A177-3AD203B41FA5}">
                      <a16:colId xmlns:a16="http://schemas.microsoft.com/office/drawing/2014/main" val="2092247808"/>
                    </a:ext>
                  </a:extLst>
                </a:gridCol>
              </a:tblGrid>
              <a:tr h="731520">
                <a:tc>
                  <a:txBody>
                    <a:bodyPr/>
                    <a:lstStyle/>
                    <a:p>
                      <a:pPr algn="just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/06/20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4285526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 Unicode MS"/>
                        </a:rPr>
                        <a:t>214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nstruction sur sol d’autru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65 32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635694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/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8973096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2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ion immobilisé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65 32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7129536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1600" dirty="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02445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870641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AB805C2-5BFA-462D-9379-223322A166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4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chat d’une tondeuse 780 € TTC le 17 juillet	</a:t>
            </a:r>
            <a:endParaRPr lang="fr-FR" dirty="0"/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B02F2DF8-8652-4212-AA0D-F3530B40960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88953421"/>
              </p:ext>
            </p:extLst>
          </p:nvPr>
        </p:nvGraphicFramePr>
        <p:xfrm>
          <a:off x="1027688" y="2071561"/>
          <a:ext cx="9864192" cy="4062200"/>
        </p:xfrm>
        <a:graphic>
          <a:graphicData uri="http://schemas.openxmlformats.org/drawingml/2006/table">
            <a:tbl>
              <a:tblPr/>
              <a:tblGrid>
                <a:gridCol w="1077699">
                  <a:extLst>
                    <a:ext uri="{9D8B030D-6E8A-4147-A177-3AD203B41FA5}">
                      <a16:colId xmlns:a16="http://schemas.microsoft.com/office/drawing/2014/main" val="3722791736"/>
                    </a:ext>
                  </a:extLst>
                </a:gridCol>
                <a:gridCol w="2756084">
                  <a:extLst>
                    <a:ext uri="{9D8B030D-6E8A-4147-A177-3AD203B41FA5}">
                      <a16:colId xmlns:a16="http://schemas.microsoft.com/office/drawing/2014/main" val="2374112947"/>
                    </a:ext>
                  </a:extLst>
                </a:gridCol>
                <a:gridCol w="1272039">
                  <a:extLst>
                    <a:ext uri="{9D8B030D-6E8A-4147-A177-3AD203B41FA5}">
                      <a16:colId xmlns:a16="http://schemas.microsoft.com/office/drawing/2014/main" val="3266888883"/>
                    </a:ext>
                  </a:extLst>
                </a:gridCol>
                <a:gridCol w="2332072">
                  <a:extLst>
                    <a:ext uri="{9D8B030D-6E8A-4147-A177-3AD203B41FA5}">
                      <a16:colId xmlns:a16="http://schemas.microsoft.com/office/drawing/2014/main" val="3061579646"/>
                    </a:ext>
                  </a:extLst>
                </a:gridCol>
                <a:gridCol w="1213149">
                  <a:extLst>
                    <a:ext uri="{9D8B030D-6E8A-4147-A177-3AD203B41FA5}">
                      <a16:colId xmlns:a16="http://schemas.microsoft.com/office/drawing/2014/main" val="3190800935"/>
                    </a:ext>
                  </a:extLst>
                </a:gridCol>
                <a:gridCol w="1213149">
                  <a:extLst>
                    <a:ext uri="{9D8B030D-6E8A-4147-A177-3AD203B41FA5}">
                      <a16:colId xmlns:a16="http://schemas.microsoft.com/office/drawing/2014/main" val="3028410275"/>
                    </a:ext>
                  </a:extLst>
                </a:gridCol>
              </a:tblGrid>
              <a:tr h="812440"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/07/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8452532"/>
                  </a:ext>
                </a:extLst>
              </a:tr>
              <a:tr h="812440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 Unicode MS"/>
                        </a:rPr>
                        <a:t>607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hat tondeus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5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6861816"/>
                  </a:ext>
                </a:extLst>
              </a:tr>
              <a:tr h="812440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445660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Etat TVA déductible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130,00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3943465"/>
                  </a:ext>
                </a:extLst>
              </a:tr>
              <a:tr h="812440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urnisseur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8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3097523"/>
                  </a:ext>
                </a:extLst>
              </a:tr>
              <a:tr h="812440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200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61910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51368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1F26DD9-B3D7-4B03-9C27-BCE7977D1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fr-FR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iement de la facture par virement  à MECA pour 780,00 € le 2 aout 2020	=&gt; Flux économique</a:t>
            </a:r>
            <a:endParaRPr lang="fr-FR" sz="2800" dirty="0"/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FE0A8D4D-A24E-428C-98E4-2B0D896B182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46814229"/>
              </p:ext>
            </p:extLst>
          </p:nvPr>
        </p:nvGraphicFramePr>
        <p:xfrm>
          <a:off x="987229" y="1844984"/>
          <a:ext cx="10090767" cy="4450620"/>
        </p:xfrm>
        <a:graphic>
          <a:graphicData uri="http://schemas.openxmlformats.org/drawingml/2006/table">
            <a:tbl>
              <a:tblPr/>
              <a:tblGrid>
                <a:gridCol w="1102454">
                  <a:extLst>
                    <a:ext uri="{9D8B030D-6E8A-4147-A177-3AD203B41FA5}">
                      <a16:colId xmlns:a16="http://schemas.microsoft.com/office/drawing/2014/main" val="3941266844"/>
                    </a:ext>
                  </a:extLst>
                </a:gridCol>
                <a:gridCol w="2819390">
                  <a:extLst>
                    <a:ext uri="{9D8B030D-6E8A-4147-A177-3AD203B41FA5}">
                      <a16:colId xmlns:a16="http://schemas.microsoft.com/office/drawing/2014/main" val="2773780913"/>
                    </a:ext>
                  </a:extLst>
                </a:gridCol>
                <a:gridCol w="1694028">
                  <a:extLst>
                    <a:ext uri="{9D8B030D-6E8A-4147-A177-3AD203B41FA5}">
                      <a16:colId xmlns:a16="http://schemas.microsoft.com/office/drawing/2014/main" val="4242845868"/>
                    </a:ext>
                  </a:extLst>
                </a:gridCol>
                <a:gridCol w="1992867">
                  <a:extLst>
                    <a:ext uri="{9D8B030D-6E8A-4147-A177-3AD203B41FA5}">
                      <a16:colId xmlns:a16="http://schemas.microsoft.com/office/drawing/2014/main" val="841831990"/>
                    </a:ext>
                  </a:extLst>
                </a:gridCol>
                <a:gridCol w="1241014">
                  <a:extLst>
                    <a:ext uri="{9D8B030D-6E8A-4147-A177-3AD203B41FA5}">
                      <a16:colId xmlns:a16="http://schemas.microsoft.com/office/drawing/2014/main" val="1680839036"/>
                    </a:ext>
                  </a:extLst>
                </a:gridCol>
                <a:gridCol w="1241014">
                  <a:extLst>
                    <a:ext uri="{9D8B030D-6E8A-4147-A177-3AD203B41FA5}">
                      <a16:colId xmlns:a16="http://schemas.microsoft.com/office/drawing/2014/main" val="3795593728"/>
                    </a:ext>
                  </a:extLst>
                </a:gridCol>
              </a:tblGrid>
              <a:tr h="890124"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2/08/20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8575467"/>
                  </a:ext>
                </a:extLst>
              </a:tr>
              <a:tr h="890124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 Unicode MS"/>
                        </a:rPr>
                        <a:t>401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urnisseurs MEC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8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4667377"/>
                  </a:ext>
                </a:extLst>
              </a:tr>
              <a:tr h="890124">
                <a:tc>
                  <a:txBody>
                    <a:bodyPr/>
                    <a:lstStyle/>
                    <a:p>
                      <a:pPr algn="ct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9916242"/>
                  </a:ext>
                </a:extLst>
              </a:tr>
              <a:tr h="890124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nqu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8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8313404"/>
                  </a:ext>
                </a:extLst>
              </a:tr>
              <a:tr h="890124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37282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0858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CE1063C-26E9-451E-B581-F9094F771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5430" y="629268"/>
            <a:ext cx="6586491" cy="1286160"/>
          </a:xfrm>
        </p:spPr>
        <p:txBody>
          <a:bodyPr anchor="b">
            <a:normAutofit/>
          </a:bodyPr>
          <a:lstStyle/>
          <a:p>
            <a:r>
              <a:rPr lang="fr-FR" dirty="0"/>
              <a:t>Annexe + Révision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547C894-6E87-49E2-8590-12B2A7E706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5431" y="2438400"/>
            <a:ext cx="6586489" cy="3785419"/>
          </a:xfrm>
        </p:spPr>
        <p:txBody>
          <a:bodyPr>
            <a:normAutofit/>
          </a:bodyPr>
          <a:lstStyle/>
          <a:p>
            <a:r>
              <a:rPr lang="fr-FR" sz="4000" dirty="0"/>
              <a:t>Les états financiers</a:t>
            </a:r>
          </a:p>
          <a:p>
            <a:r>
              <a:rPr lang="fr-FR" sz="4000" dirty="0"/>
              <a:t>Les écritures</a:t>
            </a:r>
          </a:p>
        </p:txBody>
      </p:sp>
      <p:pic>
        <p:nvPicPr>
          <p:cNvPr id="5" name="Picture 4" descr="Notes adhésifs sur les murs de verre">
            <a:extLst>
              <a:ext uri="{FF2B5EF4-FFF2-40B4-BE49-F238E27FC236}">
                <a16:creationId xmlns:a16="http://schemas.microsoft.com/office/drawing/2014/main" id="{27D996A6-758F-4354-9504-B9EFAC8C865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236" r="27645" b="-1"/>
          <a:stretch/>
        </p:blipFill>
        <p:spPr>
          <a:xfrm>
            <a:off x="20" y="10"/>
            <a:ext cx="4635571" cy="6857990"/>
          </a:xfrm>
          <a:prstGeom prst="rect">
            <a:avLst/>
          </a:prstGeom>
          <a:effectLst/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F400EE-A8A5-48AF-B4D6-291B52C6F0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080934" y="2115117"/>
            <a:ext cx="6309360" cy="0"/>
          </a:xfrm>
          <a:prstGeom prst="line">
            <a:avLst/>
          </a:prstGeom>
          <a:ln w="19050">
            <a:solidFill>
              <a:srgbClr val="EB51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5348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A9D20C-5A36-412F-8686-11A1EF98D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as </a:t>
            </a:r>
            <a:r>
              <a:rPr lang="fr-FR" dirty="0" err="1"/>
              <a:t>Révis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45D4732-3D71-486E-BC59-30C6F35A51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342900" lvl="0" indent="-342900" algn="l">
              <a:lnSpc>
                <a:spcPct val="106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fr-FR" sz="3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venus des placements financiers 98 € perçu le 30 octobre		</a:t>
            </a:r>
            <a:endParaRPr lang="fr-FR" sz="3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06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fr-FR" sz="3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ais de carte grise du </a:t>
            </a:r>
            <a:r>
              <a:rPr lang="fr-FR" sz="3200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ick</a:t>
            </a:r>
            <a:r>
              <a:rPr lang="fr-FR" sz="3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p	650 €	 le 1 octobre</a:t>
            </a:r>
            <a:endParaRPr lang="fr-FR" sz="3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06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fr-FR" sz="3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érêts courus sur emprunts bancaires 18 ,88 € le 31 décembre</a:t>
            </a:r>
            <a:endParaRPr lang="fr-FR" sz="3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06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fr-FR" sz="3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mprunt bancaire pour 48 000 € le 15 octobre</a:t>
            </a:r>
            <a:endParaRPr lang="fr-FR" sz="3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6226651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6A9C45A-957D-4C0B-B478-0261C60B7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fr-FR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venus des placements financiers 98 € perçu le 30 octobre	</a:t>
            </a:r>
            <a:endParaRPr lang="fr-FR" dirty="0"/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EC099C48-AC90-436A-8D9F-6079FE495D8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50672305"/>
              </p:ext>
            </p:extLst>
          </p:nvPr>
        </p:nvGraphicFramePr>
        <p:xfrm>
          <a:off x="453154" y="1594131"/>
          <a:ext cx="11458320" cy="46147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7886">
                  <a:extLst>
                    <a:ext uri="{9D8B030D-6E8A-4147-A177-3AD203B41FA5}">
                      <a16:colId xmlns:a16="http://schemas.microsoft.com/office/drawing/2014/main" val="3525055590"/>
                    </a:ext>
                  </a:extLst>
                </a:gridCol>
                <a:gridCol w="3242462">
                  <a:extLst>
                    <a:ext uri="{9D8B030D-6E8A-4147-A177-3AD203B41FA5}">
                      <a16:colId xmlns:a16="http://schemas.microsoft.com/office/drawing/2014/main" val="3475435447"/>
                    </a:ext>
                  </a:extLst>
                </a:gridCol>
                <a:gridCol w="1496520">
                  <a:extLst>
                    <a:ext uri="{9D8B030D-6E8A-4147-A177-3AD203B41FA5}">
                      <a16:colId xmlns:a16="http://schemas.microsoft.com/office/drawing/2014/main" val="2482545036"/>
                    </a:ext>
                  </a:extLst>
                </a:gridCol>
                <a:gridCol w="2283509">
                  <a:extLst>
                    <a:ext uri="{9D8B030D-6E8A-4147-A177-3AD203B41FA5}">
                      <a16:colId xmlns:a16="http://schemas.microsoft.com/office/drawing/2014/main" val="1128881896"/>
                    </a:ext>
                  </a:extLst>
                </a:gridCol>
                <a:gridCol w="1740706">
                  <a:extLst>
                    <a:ext uri="{9D8B030D-6E8A-4147-A177-3AD203B41FA5}">
                      <a16:colId xmlns:a16="http://schemas.microsoft.com/office/drawing/2014/main" val="195341900"/>
                    </a:ext>
                  </a:extLst>
                </a:gridCol>
                <a:gridCol w="1427237">
                  <a:extLst>
                    <a:ext uri="{9D8B030D-6E8A-4147-A177-3AD203B41FA5}">
                      <a16:colId xmlns:a16="http://schemas.microsoft.com/office/drawing/2014/main" val="3090164116"/>
                    </a:ext>
                  </a:extLst>
                </a:gridCol>
              </a:tblGrid>
              <a:tr h="969704">
                <a:tc>
                  <a:txBody>
                    <a:bodyPr/>
                    <a:lstStyle/>
                    <a:p>
                      <a:pPr algn="just"/>
                      <a:r>
                        <a:rPr lang="fr-FR" sz="2400" dirty="0">
                          <a:effectLst/>
                        </a:rPr>
                        <a:t> 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400" dirty="0">
                          <a:effectLst/>
                        </a:rPr>
                        <a:t> 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effectLst/>
                        </a:rPr>
                        <a:t>30/10/20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400" dirty="0">
                          <a:effectLst/>
                        </a:rPr>
                        <a:t> 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400">
                          <a:effectLst/>
                        </a:rPr>
                        <a:t> </a:t>
                      </a:r>
                      <a:endParaRPr lang="fr-FR" sz="2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400">
                          <a:effectLst/>
                        </a:rPr>
                        <a:t> </a:t>
                      </a:r>
                      <a:endParaRPr lang="fr-FR" sz="2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59347265"/>
                  </a:ext>
                </a:extLst>
              </a:tr>
              <a:tr h="852820"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effectLst/>
                        </a:rPr>
                        <a:t>512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2400" dirty="0">
                          <a:effectLst/>
                        </a:rPr>
                        <a:t>Banque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400" dirty="0">
                          <a:effectLst/>
                        </a:rPr>
                        <a:t>98,00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400">
                          <a:effectLst/>
                        </a:rPr>
                        <a:t> </a:t>
                      </a:r>
                      <a:endParaRPr lang="fr-FR" sz="2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66311839"/>
                  </a:ext>
                </a:extLst>
              </a:tr>
              <a:tr h="969704"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effectLst/>
                        </a:rPr>
                        <a:t>764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2400" dirty="0">
                          <a:effectLst/>
                        </a:rPr>
                        <a:t>Produit financiers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400" dirty="0">
                          <a:effectLst/>
                        </a:rPr>
                        <a:t> 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400" dirty="0">
                          <a:effectLst/>
                        </a:rPr>
                        <a:t>98,00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751713807"/>
                  </a:ext>
                </a:extLst>
              </a:tr>
              <a:tr h="969704">
                <a:tc>
                  <a:txBody>
                    <a:bodyPr/>
                    <a:lstStyle/>
                    <a:p>
                      <a:pPr algn="ctr"/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r"/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63512930"/>
                  </a:ext>
                </a:extLst>
              </a:tr>
              <a:tr h="852820">
                <a:tc>
                  <a:txBody>
                    <a:bodyPr/>
                    <a:lstStyle/>
                    <a:p>
                      <a:pPr algn="ctr"/>
                      <a:r>
                        <a:rPr lang="fr-FR" sz="2400">
                          <a:effectLst/>
                        </a:rPr>
                        <a:t> </a:t>
                      </a:r>
                      <a:endParaRPr lang="fr-FR" sz="2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2400">
                          <a:effectLst/>
                        </a:rPr>
                        <a:t> </a:t>
                      </a:r>
                      <a:endParaRPr lang="fr-FR" sz="2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400">
                          <a:effectLst/>
                        </a:rPr>
                        <a:t> </a:t>
                      </a:r>
                      <a:endParaRPr lang="fr-FR" sz="2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400" dirty="0">
                          <a:effectLst/>
                        </a:rPr>
                        <a:t> 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2428121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613465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6DD129C-520E-4D80-9817-C2C73246DB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marR="0" lvl="0" indent="-342900" defTabSz="914400" rtl="0" eaLnBrk="1" fontAlgn="auto" latinLnBrk="0" hangingPunct="1">
              <a:lnSpc>
                <a:spcPct val="106000"/>
              </a:lnSpc>
              <a:spcBef>
                <a:spcPts val="1000"/>
              </a:spcBef>
              <a:spcAft>
                <a:spcPts val="800"/>
              </a:spcAft>
              <a:tabLst>
                <a:tab pos="457200" algn="l"/>
              </a:tabLst>
              <a:defRPr/>
            </a:pPr>
            <a:r>
              <a:rPr kumimoji="0" lang="fr-FR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ais de carte grise du </a:t>
            </a:r>
            <a:r>
              <a:rPr kumimoji="0" lang="fr-FR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ick</a:t>
            </a:r>
            <a:r>
              <a:rPr kumimoji="0" lang="fr-FR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p	650 €	 le 1 octobre</a:t>
            </a:r>
            <a:endParaRPr lang="fr-FR" dirty="0"/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0AD42957-EF6B-45BE-8B7D-257913155D1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42218420"/>
              </p:ext>
            </p:extLst>
          </p:nvPr>
        </p:nvGraphicFramePr>
        <p:xfrm>
          <a:off x="558350" y="1893536"/>
          <a:ext cx="10293070" cy="4491080"/>
        </p:xfrm>
        <a:graphic>
          <a:graphicData uri="http://schemas.openxmlformats.org/drawingml/2006/table">
            <a:tbl>
              <a:tblPr/>
              <a:tblGrid>
                <a:gridCol w="1124556">
                  <a:extLst>
                    <a:ext uri="{9D8B030D-6E8A-4147-A177-3AD203B41FA5}">
                      <a16:colId xmlns:a16="http://schemas.microsoft.com/office/drawing/2014/main" val="3724542495"/>
                    </a:ext>
                  </a:extLst>
                </a:gridCol>
                <a:gridCol w="2875913">
                  <a:extLst>
                    <a:ext uri="{9D8B030D-6E8A-4147-A177-3AD203B41FA5}">
                      <a16:colId xmlns:a16="http://schemas.microsoft.com/office/drawing/2014/main" val="3170646429"/>
                    </a:ext>
                  </a:extLst>
                </a:gridCol>
                <a:gridCol w="1327345">
                  <a:extLst>
                    <a:ext uri="{9D8B030D-6E8A-4147-A177-3AD203B41FA5}">
                      <a16:colId xmlns:a16="http://schemas.microsoft.com/office/drawing/2014/main" val="2199562821"/>
                    </a:ext>
                  </a:extLst>
                </a:gridCol>
                <a:gridCol w="2433466">
                  <a:extLst>
                    <a:ext uri="{9D8B030D-6E8A-4147-A177-3AD203B41FA5}">
                      <a16:colId xmlns:a16="http://schemas.microsoft.com/office/drawing/2014/main" val="3113049348"/>
                    </a:ext>
                  </a:extLst>
                </a:gridCol>
                <a:gridCol w="1265895">
                  <a:extLst>
                    <a:ext uri="{9D8B030D-6E8A-4147-A177-3AD203B41FA5}">
                      <a16:colId xmlns:a16="http://schemas.microsoft.com/office/drawing/2014/main" val="3649474340"/>
                    </a:ext>
                  </a:extLst>
                </a:gridCol>
                <a:gridCol w="1265895">
                  <a:extLst>
                    <a:ext uri="{9D8B030D-6E8A-4147-A177-3AD203B41FA5}">
                      <a16:colId xmlns:a16="http://schemas.microsoft.com/office/drawing/2014/main" val="3113993301"/>
                    </a:ext>
                  </a:extLst>
                </a:gridCol>
              </a:tblGrid>
              <a:tr h="898216">
                <a:tc>
                  <a:txBody>
                    <a:bodyPr/>
                    <a:lstStyle/>
                    <a:p>
                      <a:pPr algn="just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1/10/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973111"/>
                  </a:ext>
                </a:extLst>
              </a:tr>
              <a:tr h="898216"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 Unicode MS"/>
                        </a:rPr>
                        <a:t>6354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mpôts - Carte gris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5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7225323"/>
                  </a:ext>
                </a:extLst>
              </a:tr>
              <a:tr h="898216">
                <a:tc>
                  <a:txBody>
                    <a:bodyPr/>
                    <a:lstStyle/>
                    <a:p>
                      <a:pPr algn="ct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401/512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Fournisseurs / Banque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650,00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3311602"/>
                  </a:ext>
                </a:extLst>
              </a:tr>
              <a:tr h="898216">
                <a:tc>
                  <a:txBody>
                    <a:bodyPr/>
                    <a:lstStyle/>
                    <a:p>
                      <a:pPr algn="ctr"/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068793"/>
                  </a:ext>
                </a:extLst>
              </a:tr>
              <a:tr h="898216">
                <a:tc>
                  <a:txBody>
                    <a:bodyPr/>
                    <a:lstStyle/>
                    <a:p>
                      <a:pPr algn="ct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180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60914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864048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47EAD18-F44F-48E8-8187-829C276FE2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233" y="365125"/>
            <a:ext cx="11231745" cy="1325563"/>
          </a:xfrm>
        </p:spPr>
        <p:txBody>
          <a:bodyPr>
            <a:normAutofit/>
          </a:bodyPr>
          <a:lstStyle/>
          <a:p>
            <a:r>
              <a:rPr lang="fr-FR" sz="4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mprunt bancaire souscrit pour 48 000 € le 15 septembre</a:t>
            </a:r>
            <a:endParaRPr lang="fr-FR" dirty="0"/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91B4EAA4-534B-4331-B495-9B0B5BF5D38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97532849"/>
              </p:ext>
            </p:extLst>
          </p:nvPr>
        </p:nvGraphicFramePr>
        <p:xfrm>
          <a:off x="145658" y="1690689"/>
          <a:ext cx="12044131" cy="4802189"/>
        </p:xfrm>
        <a:graphic>
          <a:graphicData uri="http://schemas.openxmlformats.org/drawingml/2006/table">
            <a:tbl>
              <a:tblPr/>
              <a:tblGrid>
                <a:gridCol w="1290763">
                  <a:extLst>
                    <a:ext uri="{9D8B030D-6E8A-4147-A177-3AD203B41FA5}">
                      <a16:colId xmlns:a16="http://schemas.microsoft.com/office/drawing/2014/main" val="573121382"/>
                    </a:ext>
                  </a:extLst>
                </a:gridCol>
                <a:gridCol w="3300971">
                  <a:extLst>
                    <a:ext uri="{9D8B030D-6E8A-4147-A177-3AD203B41FA5}">
                      <a16:colId xmlns:a16="http://schemas.microsoft.com/office/drawing/2014/main" val="2652003639"/>
                    </a:ext>
                  </a:extLst>
                </a:gridCol>
                <a:gridCol w="1523525">
                  <a:extLst>
                    <a:ext uri="{9D8B030D-6E8A-4147-A177-3AD203B41FA5}">
                      <a16:colId xmlns:a16="http://schemas.microsoft.com/office/drawing/2014/main" val="3203423873"/>
                    </a:ext>
                  </a:extLst>
                </a:gridCol>
                <a:gridCol w="1507437">
                  <a:extLst>
                    <a:ext uri="{9D8B030D-6E8A-4147-A177-3AD203B41FA5}">
                      <a16:colId xmlns:a16="http://schemas.microsoft.com/office/drawing/2014/main" val="3440672465"/>
                    </a:ext>
                  </a:extLst>
                </a:gridCol>
                <a:gridCol w="2079653">
                  <a:extLst>
                    <a:ext uri="{9D8B030D-6E8A-4147-A177-3AD203B41FA5}">
                      <a16:colId xmlns:a16="http://schemas.microsoft.com/office/drawing/2014/main" val="334364099"/>
                    </a:ext>
                  </a:extLst>
                </a:gridCol>
                <a:gridCol w="2341782">
                  <a:extLst>
                    <a:ext uri="{9D8B030D-6E8A-4147-A177-3AD203B41FA5}">
                      <a16:colId xmlns:a16="http://schemas.microsoft.com/office/drawing/2014/main" val="1130649829"/>
                    </a:ext>
                  </a:extLst>
                </a:gridCol>
              </a:tblGrid>
              <a:tr h="1006767">
                <a:tc>
                  <a:txBody>
                    <a:bodyPr/>
                    <a:lstStyle/>
                    <a:p>
                      <a:pPr algn="just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/09/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4098787"/>
                  </a:ext>
                </a:extLst>
              </a:tr>
              <a:tr h="1006767"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 Unicode MS"/>
                        </a:rPr>
                        <a:t>512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nqu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8 00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4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7839333"/>
                  </a:ext>
                </a:extLst>
              </a:tr>
              <a:tr h="1006767">
                <a:tc>
                  <a:txBody>
                    <a:bodyPr/>
                    <a:lstStyle/>
                    <a:p>
                      <a:pPr algn="r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164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Emprunts bancaires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48 000,00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311111"/>
                  </a:ext>
                </a:extLst>
              </a:tr>
              <a:tr h="890944">
                <a:tc>
                  <a:txBody>
                    <a:bodyPr/>
                    <a:lstStyle/>
                    <a:p>
                      <a:pPr algn="ctr"/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961876"/>
                  </a:ext>
                </a:extLst>
              </a:tr>
              <a:tr h="890944">
                <a:tc>
                  <a:txBody>
                    <a:bodyPr/>
                    <a:lstStyle/>
                    <a:p>
                      <a:pPr algn="ctr"/>
                      <a:r>
                        <a:rPr lang="fr-FR" sz="24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240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4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84171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598518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028A6D4-BD26-44D1-9343-5DD586C7A3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342900" lvl="0" indent="-342900" algn="l">
              <a:lnSpc>
                <a:spcPct val="106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fr-FR" sz="4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érêts courus sur emprunts bancaires 18,88 € le 31 décembre</a:t>
            </a:r>
            <a:endParaRPr lang="fr-FR" sz="44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147FEDBF-CF42-4B53-A214-5BD9EFC35EA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79887837"/>
              </p:ext>
            </p:extLst>
          </p:nvPr>
        </p:nvGraphicFramePr>
        <p:xfrm>
          <a:off x="1197621" y="2314322"/>
          <a:ext cx="9629522" cy="3568590"/>
        </p:xfrm>
        <a:graphic>
          <a:graphicData uri="http://schemas.openxmlformats.org/drawingml/2006/table">
            <a:tbl>
              <a:tblPr/>
              <a:tblGrid>
                <a:gridCol w="1052062">
                  <a:extLst>
                    <a:ext uri="{9D8B030D-6E8A-4147-A177-3AD203B41FA5}">
                      <a16:colId xmlns:a16="http://schemas.microsoft.com/office/drawing/2014/main" val="1781569266"/>
                    </a:ext>
                  </a:extLst>
                </a:gridCol>
                <a:gridCol w="2690518">
                  <a:extLst>
                    <a:ext uri="{9D8B030D-6E8A-4147-A177-3AD203B41FA5}">
                      <a16:colId xmlns:a16="http://schemas.microsoft.com/office/drawing/2014/main" val="4076761130"/>
                    </a:ext>
                  </a:extLst>
                </a:gridCol>
                <a:gridCol w="1241777">
                  <a:extLst>
                    <a:ext uri="{9D8B030D-6E8A-4147-A177-3AD203B41FA5}">
                      <a16:colId xmlns:a16="http://schemas.microsoft.com/office/drawing/2014/main" val="3012325711"/>
                    </a:ext>
                  </a:extLst>
                </a:gridCol>
                <a:gridCol w="2276591">
                  <a:extLst>
                    <a:ext uri="{9D8B030D-6E8A-4147-A177-3AD203B41FA5}">
                      <a16:colId xmlns:a16="http://schemas.microsoft.com/office/drawing/2014/main" val="3750057552"/>
                    </a:ext>
                  </a:extLst>
                </a:gridCol>
                <a:gridCol w="1184287">
                  <a:extLst>
                    <a:ext uri="{9D8B030D-6E8A-4147-A177-3AD203B41FA5}">
                      <a16:colId xmlns:a16="http://schemas.microsoft.com/office/drawing/2014/main" val="1077091638"/>
                    </a:ext>
                  </a:extLst>
                </a:gridCol>
                <a:gridCol w="1184287">
                  <a:extLst>
                    <a:ext uri="{9D8B030D-6E8A-4147-A177-3AD203B41FA5}">
                      <a16:colId xmlns:a16="http://schemas.microsoft.com/office/drawing/2014/main" val="1660892957"/>
                    </a:ext>
                  </a:extLst>
                </a:gridCol>
              </a:tblGrid>
              <a:tr h="713718"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1793352"/>
                  </a:ext>
                </a:extLst>
              </a:tr>
              <a:tr h="713718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 Unicode MS"/>
                        </a:rPr>
                        <a:t>6611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harges d’intérê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,8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3050997"/>
                  </a:ext>
                </a:extLst>
              </a:tr>
              <a:tr h="713718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8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térêts couru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,8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636659"/>
                  </a:ext>
                </a:extLst>
              </a:tr>
              <a:tr h="713718">
                <a:tc>
                  <a:txBody>
                    <a:bodyPr/>
                    <a:lstStyle/>
                    <a:p>
                      <a:pPr algn="ct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1947623"/>
                  </a:ext>
                </a:extLst>
              </a:tr>
              <a:tr h="713718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200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28874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950296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00120C5-9A6D-4554-9515-556FBF8DD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a </a:t>
            </a:r>
            <a:r>
              <a:rPr lang="fr-FR" dirty="0" err="1"/>
              <a:t>révis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A3C116D-202B-4A93-9DC8-4CB6D25553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342900" indent="-342900">
              <a:lnSpc>
                <a:spcPct val="106000"/>
              </a:lnSpc>
              <a:spcAft>
                <a:spcPts val="800"/>
              </a:spcAft>
              <a:tabLst>
                <a:tab pos="457200" algn="l"/>
              </a:tabLst>
            </a:pPr>
            <a:r>
              <a:rPr lang="fr-FR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iement de l’acompte d‘impôt sur les sociétés le 15 décembre pour 14 653 €</a:t>
            </a:r>
            <a:endParaRPr lang="fr-FR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06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fr-FR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visions pour litiges prud'homme de 38 000 € </a:t>
            </a:r>
            <a:r>
              <a:rPr lang="fr-FR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à comptabiliser </a:t>
            </a:r>
            <a:r>
              <a:rPr lang="fr-FR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 31 décembre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06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fr-FR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ssurances 1 350 € payé au 31/12 mais concerne 2021 (100 %)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06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fr-FR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.R.R à établir de 95 € HT le 31 décembre pour un client, Il sera fait physiquement en 2021  mais concerne 2020,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06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fr-FR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chat d’un tracteur pour 98 000 € HT le 28 novembre</a:t>
            </a:r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3763717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B78E159-6B7D-40EB-B5D9-2FBACF17F3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342900" marR="0" lvl="0" indent="-342900" defTabSz="914400" rtl="0" eaLnBrk="1" fontAlgn="auto" latinLnBrk="0" hangingPunct="1">
              <a:lnSpc>
                <a:spcPct val="106000"/>
              </a:lnSpc>
              <a:spcBef>
                <a:spcPts val="1000"/>
              </a:spcBef>
              <a:spcAft>
                <a:spcPts val="800"/>
              </a:spcAft>
              <a:tabLst>
                <a:tab pos="457200" algn="l"/>
              </a:tabLst>
              <a:defRPr/>
            </a:pPr>
            <a:r>
              <a:rPr kumimoji="0" lang="fr-FR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iement de l’acompte d‘impôt sur les sociétés le 15 décembre pour 14 653 €</a:t>
            </a:r>
            <a:br>
              <a:rPr kumimoji="0" lang="fr-FR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fr-FR" dirty="0"/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420ACE9B-A0F9-40B1-8E33-43495A6460E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23057183"/>
              </p:ext>
            </p:extLst>
          </p:nvPr>
        </p:nvGraphicFramePr>
        <p:xfrm>
          <a:off x="436970" y="1877352"/>
          <a:ext cx="10916831" cy="3511945"/>
        </p:xfrm>
        <a:graphic>
          <a:graphicData uri="http://schemas.openxmlformats.org/drawingml/2006/table">
            <a:tbl>
              <a:tblPr/>
              <a:tblGrid>
                <a:gridCol w="1158480">
                  <a:extLst>
                    <a:ext uri="{9D8B030D-6E8A-4147-A177-3AD203B41FA5}">
                      <a16:colId xmlns:a16="http://schemas.microsoft.com/office/drawing/2014/main" val="2101253590"/>
                    </a:ext>
                  </a:extLst>
                </a:gridCol>
                <a:gridCol w="2962671">
                  <a:extLst>
                    <a:ext uri="{9D8B030D-6E8A-4147-A177-3AD203B41FA5}">
                      <a16:colId xmlns:a16="http://schemas.microsoft.com/office/drawing/2014/main" val="1929384244"/>
                    </a:ext>
                  </a:extLst>
                </a:gridCol>
                <a:gridCol w="1367387">
                  <a:extLst>
                    <a:ext uri="{9D8B030D-6E8A-4147-A177-3AD203B41FA5}">
                      <a16:colId xmlns:a16="http://schemas.microsoft.com/office/drawing/2014/main" val="2149330755"/>
                    </a:ext>
                  </a:extLst>
                </a:gridCol>
                <a:gridCol w="2190804">
                  <a:extLst>
                    <a:ext uri="{9D8B030D-6E8A-4147-A177-3AD203B41FA5}">
                      <a16:colId xmlns:a16="http://schemas.microsoft.com/office/drawing/2014/main" val="1981099550"/>
                    </a:ext>
                  </a:extLst>
                </a:gridCol>
                <a:gridCol w="1577946">
                  <a:extLst>
                    <a:ext uri="{9D8B030D-6E8A-4147-A177-3AD203B41FA5}">
                      <a16:colId xmlns:a16="http://schemas.microsoft.com/office/drawing/2014/main" val="1969236149"/>
                    </a:ext>
                  </a:extLst>
                </a:gridCol>
                <a:gridCol w="1659543">
                  <a:extLst>
                    <a:ext uri="{9D8B030D-6E8A-4147-A177-3AD203B41FA5}">
                      <a16:colId xmlns:a16="http://schemas.microsoft.com/office/drawing/2014/main" val="1464845013"/>
                    </a:ext>
                  </a:extLst>
                </a:gridCol>
              </a:tblGrid>
              <a:tr h="702389"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/12/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7207911"/>
                  </a:ext>
                </a:extLst>
              </a:tr>
              <a:tr h="702389">
                <a:tc>
                  <a:txBody>
                    <a:bodyPr/>
                    <a:lstStyle/>
                    <a:p>
                      <a:pPr algn="l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 Unicode MS"/>
                        </a:rPr>
                        <a:t>444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tat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 653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2856856"/>
                  </a:ext>
                </a:extLst>
              </a:tr>
              <a:tr h="702389"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512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Banque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14 653,00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46299"/>
                  </a:ext>
                </a:extLst>
              </a:tr>
              <a:tr h="702389">
                <a:tc>
                  <a:txBody>
                    <a:bodyPr/>
                    <a:lstStyle/>
                    <a:p>
                      <a:pPr algn="ct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1745836"/>
                  </a:ext>
                </a:extLst>
              </a:tr>
              <a:tr h="702389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200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15446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74383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DA15F83-CBD4-4C58-B9E1-0189444035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415" y="381310"/>
            <a:ext cx="11154196" cy="1325563"/>
          </a:xfrm>
        </p:spPr>
        <p:txBody>
          <a:bodyPr>
            <a:normAutofit fontScale="90000"/>
          </a:bodyPr>
          <a:lstStyle/>
          <a:p>
            <a:r>
              <a:rPr lang="fr-FR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visions pour litiges prud'homme de 38 000 € </a:t>
            </a:r>
            <a:r>
              <a:rPr lang="fr-FR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à comptabiliser </a:t>
            </a:r>
            <a:r>
              <a:rPr lang="fr-FR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 31 décembre</a:t>
            </a:r>
            <a:b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fr-FR" dirty="0"/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2EB7A42B-42A4-4BCE-ACA7-AF6362A28BB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59047814"/>
              </p:ext>
            </p:extLst>
          </p:nvPr>
        </p:nvGraphicFramePr>
        <p:xfrm>
          <a:off x="663547" y="1901628"/>
          <a:ext cx="11202069" cy="4110750"/>
        </p:xfrm>
        <a:graphic>
          <a:graphicData uri="http://schemas.openxmlformats.org/drawingml/2006/table">
            <a:tbl>
              <a:tblPr/>
              <a:tblGrid>
                <a:gridCol w="1202356">
                  <a:extLst>
                    <a:ext uri="{9D8B030D-6E8A-4147-A177-3AD203B41FA5}">
                      <a16:colId xmlns:a16="http://schemas.microsoft.com/office/drawing/2014/main" val="1171149432"/>
                    </a:ext>
                  </a:extLst>
                </a:gridCol>
                <a:gridCol w="3074876">
                  <a:extLst>
                    <a:ext uri="{9D8B030D-6E8A-4147-A177-3AD203B41FA5}">
                      <a16:colId xmlns:a16="http://schemas.microsoft.com/office/drawing/2014/main" val="1195190415"/>
                    </a:ext>
                  </a:extLst>
                </a:gridCol>
                <a:gridCol w="1616075">
                  <a:extLst>
                    <a:ext uri="{9D8B030D-6E8A-4147-A177-3AD203B41FA5}">
                      <a16:colId xmlns:a16="http://schemas.microsoft.com/office/drawing/2014/main" val="784286285"/>
                    </a:ext>
                  </a:extLst>
                </a:gridCol>
                <a:gridCol w="2386437">
                  <a:extLst>
                    <a:ext uri="{9D8B030D-6E8A-4147-A177-3AD203B41FA5}">
                      <a16:colId xmlns:a16="http://schemas.microsoft.com/office/drawing/2014/main" val="1907779182"/>
                    </a:ext>
                  </a:extLst>
                </a:gridCol>
                <a:gridCol w="1568853">
                  <a:extLst>
                    <a:ext uri="{9D8B030D-6E8A-4147-A177-3AD203B41FA5}">
                      <a16:colId xmlns:a16="http://schemas.microsoft.com/office/drawing/2014/main" val="1327578028"/>
                    </a:ext>
                  </a:extLst>
                </a:gridCol>
                <a:gridCol w="1353472">
                  <a:extLst>
                    <a:ext uri="{9D8B030D-6E8A-4147-A177-3AD203B41FA5}">
                      <a16:colId xmlns:a16="http://schemas.microsoft.com/office/drawing/2014/main" val="3470338246"/>
                    </a:ext>
                  </a:extLst>
                </a:gridCol>
              </a:tblGrid>
              <a:tr h="822150"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20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7019579"/>
                  </a:ext>
                </a:extLst>
              </a:tr>
              <a:tr h="822150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 Unicode MS"/>
                        </a:rPr>
                        <a:t>6815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otations aux provisions d’exploit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8 00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6926952"/>
                  </a:ext>
                </a:extLst>
              </a:tr>
              <a:tr h="822150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1511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Provision pour risque – prud’homme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38 000,00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3566048"/>
                  </a:ext>
                </a:extLst>
              </a:tr>
              <a:tr h="822150">
                <a:tc>
                  <a:txBody>
                    <a:bodyPr/>
                    <a:lstStyle/>
                    <a:p>
                      <a:pPr algn="ct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0265714"/>
                  </a:ext>
                </a:extLst>
              </a:tr>
              <a:tr h="822150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07116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29255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502F171-14C9-4571-ABAE-7CE4ACEEDE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ssurances 1 350 € payé au 31/12 mais concerne 2021 (100 %)</a:t>
            </a:r>
            <a:b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fr-FR" dirty="0"/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6BF7EF15-4172-40A5-B246-E59ED569F04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42963613"/>
              </p:ext>
            </p:extLst>
          </p:nvPr>
        </p:nvGraphicFramePr>
        <p:xfrm>
          <a:off x="695915" y="1844985"/>
          <a:ext cx="10944473" cy="3795165"/>
        </p:xfrm>
        <a:graphic>
          <a:graphicData uri="http://schemas.openxmlformats.org/drawingml/2006/table">
            <a:tbl>
              <a:tblPr/>
              <a:tblGrid>
                <a:gridCol w="1446043">
                  <a:extLst>
                    <a:ext uri="{9D8B030D-6E8A-4147-A177-3AD203B41FA5}">
                      <a16:colId xmlns:a16="http://schemas.microsoft.com/office/drawing/2014/main" val="2369370715"/>
                    </a:ext>
                  </a:extLst>
                </a:gridCol>
                <a:gridCol w="3698079">
                  <a:extLst>
                    <a:ext uri="{9D8B030D-6E8A-4147-A177-3AD203B41FA5}">
                      <a16:colId xmlns:a16="http://schemas.microsoft.com/office/drawing/2014/main" val="1498962881"/>
                    </a:ext>
                  </a:extLst>
                </a:gridCol>
                <a:gridCol w="2292553">
                  <a:extLst>
                    <a:ext uri="{9D8B030D-6E8A-4147-A177-3AD203B41FA5}">
                      <a16:colId xmlns:a16="http://schemas.microsoft.com/office/drawing/2014/main" val="2968445333"/>
                    </a:ext>
                  </a:extLst>
                </a:gridCol>
                <a:gridCol w="252226">
                  <a:extLst>
                    <a:ext uri="{9D8B030D-6E8A-4147-A177-3AD203B41FA5}">
                      <a16:colId xmlns:a16="http://schemas.microsoft.com/office/drawing/2014/main" val="454257967"/>
                    </a:ext>
                  </a:extLst>
                </a:gridCol>
                <a:gridCol w="1627786">
                  <a:extLst>
                    <a:ext uri="{9D8B030D-6E8A-4147-A177-3AD203B41FA5}">
                      <a16:colId xmlns:a16="http://schemas.microsoft.com/office/drawing/2014/main" val="118590190"/>
                    </a:ext>
                  </a:extLst>
                </a:gridCol>
                <a:gridCol w="1627786">
                  <a:extLst>
                    <a:ext uri="{9D8B030D-6E8A-4147-A177-3AD203B41FA5}">
                      <a16:colId xmlns:a16="http://schemas.microsoft.com/office/drawing/2014/main" val="1342917407"/>
                    </a:ext>
                  </a:extLst>
                </a:gridCol>
              </a:tblGrid>
              <a:tr h="759033"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20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333564"/>
                  </a:ext>
                </a:extLst>
              </a:tr>
              <a:tr h="759033">
                <a:tc>
                  <a:txBody>
                    <a:bodyPr/>
                    <a:lstStyle/>
                    <a:p>
                      <a:pPr algn="l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 Unicode MS"/>
                        </a:rPr>
                        <a:t>486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harges constatées d’avanc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35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8493728"/>
                  </a:ext>
                </a:extLst>
              </a:tr>
              <a:tr h="759033"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616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Primes d’assurance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1 350,00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9214536"/>
                  </a:ext>
                </a:extLst>
              </a:tr>
              <a:tr h="759033">
                <a:tc>
                  <a:txBody>
                    <a:bodyPr/>
                    <a:lstStyle/>
                    <a:p>
                      <a:pPr algn="ct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7629695"/>
                  </a:ext>
                </a:extLst>
              </a:tr>
              <a:tr h="759033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200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8950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651518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2928D7C-34E9-4368-92D1-8DDB218C2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472" y="250853"/>
            <a:ext cx="11692991" cy="1820707"/>
          </a:xfrm>
        </p:spPr>
        <p:txBody>
          <a:bodyPr>
            <a:normAutofit fontScale="90000"/>
          </a:bodyPr>
          <a:lstStyle/>
          <a:p>
            <a:r>
              <a:rPr lang="fr-FR" sz="36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.R.R à établir de 95 € HT le 31 décembre pour un client, Il sera fait physiquement en 2021  mais concerne 2020,</a:t>
            </a:r>
            <a:br>
              <a:rPr lang="fr-FR" sz="3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b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fr-FR" dirty="0"/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56C08A9B-DDEC-4749-838F-C02BA659BEA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08164931"/>
              </p:ext>
            </p:extLst>
          </p:nvPr>
        </p:nvGraphicFramePr>
        <p:xfrm>
          <a:off x="946769" y="1642683"/>
          <a:ext cx="11209434" cy="4280685"/>
        </p:xfrm>
        <a:graphic>
          <a:graphicData uri="http://schemas.openxmlformats.org/drawingml/2006/table">
            <a:tbl>
              <a:tblPr/>
              <a:tblGrid>
                <a:gridCol w="1163456">
                  <a:extLst>
                    <a:ext uri="{9D8B030D-6E8A-4147-A177-3AD203B41FA5}">
                      <a16:colId xmlns:a16="http://schemas.microsoft.com/office/drawing/2014/main" val="2439888070"/>
                    </a:ext>
                  </a:extLst>
                </a:gridCol>
                <a:gridCol w="2975395">
                  <a:extLst>
                    <a:ext uri="{9D8B030D-6E8A-4147-A177-3AD203B41FA5}">
                      <a16:colId xmlns:a16="http://schemas.microsoft.com/office/drawing/2014/main" val="3076441519"/>
                    </a:ext>
                  </a:extLst>
                </a:gridCol>
                <a:gridCol w="1933575">
                  <a:extLst>
                    <a:ext uri="{9D8B030D-6E8A-4147-A177-3AD203B41FA5}">
                      <a16:colId xmlns:a16="http://schemas.microsoft.com/office/drawing/2014/main" val="3150164532"/>
                    </a:ext>
                  </a:extLst>
                </a:gridCol>
                <a:gridCol w="2517642">
                  <a:extLst>
                    <a:ext uri="{9D8B030D-6E8A-4147-A177-3AD203B41FA5}">
                      <a16:colId xmlns:a16="http://schemas.microsoft.com/office/drawing/2014/main" val="3279925752"/>
                    </a:ext>
                  </a:extLst>
                </a:gridCol>
                <a:gridCol w="1309683">
                  <a:extLst>
                    <a:ext uri="{9D8B030D-6E8A-4147-A177-3AD203B41FA5}">
                      <a16:colId xmlns:a16="http://schemas.microsoft.com/office/drawing/2014/main" val="3063910715"/>
                    </a:ext>
                  </a:extLst>
                </a:gridCol>
                <a:gridCol w="1309683">
                  <a:extLst>
                    <a:ext uri="{9D8B030D-6E8A-4147-A177-3AD203B41FA5}">
                      <a16:colId xmlns:a16="http://schemas.microsoft.com/office/drawing/2014/main" val="930926943"/>
                    </a:ext>
                  </a:extLst>
                </a:gridCol>
              </a:tblGrid>
              <a:tr h="856137">
                <a:tc>
                  <a:txBody>
                    <a:bodyPr/>
                    <a:lstStyle/>
                    <a:p>
                      <a:pPr algn="just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20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4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3961756"/>
                  </a:ext>
                </a:extLst>
              </a:tr>
              <a:tr h="856137"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 Unicode MS"/>
                        </a:rPr>
                        <a:t>709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R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4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5377417"/>
                  </a:ext>
                </a:extLst>
              </a:tr>
              <a:tr h="856137"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44571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Etat TVA collectée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19,00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1396530"/>
                  </a:ext>
                </a:extLst>
              </a:tr>
              <a:tr h="856137"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9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lient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4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1015149"/>
                  </a:ext>
                </a:extLst>
              </a:tr>
              <a:tr h="856137">
                <a:tc>
                  <a:txBody>
                    <a:bodyPr/>
                    <a:lstStyle/>
                    <a:p>
                      <a:pPr algn="ctr"/>
                      <a:r>
                        <a:rPr lang="fr-FR" sz="24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240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4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4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4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21278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24817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5" name="Rectangle 54">
            <a:extLst>
              <a:ext uri="{FF2B5EF4-FFF2-40B4-BE49-F238E27FC236}">
                <a16:creationId xmlns:a16="http://schemas.microsoft.com/office/drawing/2014/main" id="{FD6EDB49-211E-499D-9A08-6C5FF3D06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8F9F37E-D3CF-4F3D-96C2-25307819DF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5FFF17D-767C-40E7-8C89-962F1F54BC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3331" y="638508"/>
            <a:ext cx="10905339" cy="4843439"/>
          </a:xfrm>
          <a:prstGeom prst="rect">
            <a:avLst/>
          </a:prstGeom>
          <a:gradFill>
            <a:gsLst>
              <a:gs pos="0">
                <a:srgbClr val="000001"/>
              </a:gs>
              <a:gs pos="100000">
                <a:srgbClr val="191919"/>
              </a:gs>
            </a:gsLst>
          </a:gradFill>
          <a:ln w="76200" cmpd="sng">
            <a:noFill/>
            <a:miter lim="800000"/>
          </a:ln>
          <a:effectLst>
            <a:outerShdw blurRad="127000" dist="228600" dir="4740000" sx="98000" sy="98000" algn="tl" rotWithShape="0">
              <a:srgbClr val="000000">
                <a:alpha val="34000"/>
              </a:srgb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69F39E1-619D-4D9E-8823-8BD8CC3206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0204" y="865667"/>
            <a:ext cx="10451592" cy="4389120"/>
          </a:xfrm>
          <a:prstGeom prst="rect">
            <a:avLst/>
          </a:prstGeom>
          <a:ln w="50800" cmpd="sng">
            <a:solidFill>
              <a:srgbClr val="191919"/>
            </a:solidFill>
            <a:miter lim="800000"/>
          </a:ln>
          <a:effectLst>
            <a:innerShdw blurRad="63500" dist="88900" dir="14100000">
              <a:srgbClr val="000000">
                <a:alpha val="30000"/>
              </a:srgbClr>
            </a:innerShdw>
          </a:effectLst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1">
            <a:schemeClr val="accent1"/>
          </a:lnRef>
          <a:fillRef idx="1003">
            <a:schemeClr val="l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8C53F47-DF50-454F-A5A6-6B969748D9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34796" y="1030259"/>
            <a:ext cx="10122408" cy="4059936"/>
          </a:xfrm>
          <a:prstGeom prst="rect">
            <a:avLst/>
          </a:prstGeom>
          <a:noFill/>
          <a:ln>
            <a:solidFill>
              <a:srgbClr val="4545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2104DD9E-7F53-465D-8561-41BB61362ACA}"/>
              </a:ext>
            </a:extLst>
          </p:cNvPr>
          <p:cNvSpPr txBox="1"/>
          <p:nvPr/>
        </p:nvSpPr>
        <p:spPr>
          <a:xfrm>
            <a:off x="1451579" y="2464991"/>
            <a:ext cx="9405891" cy="240357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0" marR="0" lvl="0" indent="-2286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71E4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  <a:p>
            <a:pPr marL="0" marR="0" lvl="0" indent="-2286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71E4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6A26901A-BC62-4A3A-A07A-65E1F3DDDE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pic>
        <p:nvPicPr>
          <p:cNvPr id="3074" name="Picture 2" descr="Résultat de recherche d'images pour &quot;liste plan comptable&quot;">
            <a:extLst>
              <a:ext uri="{FF2B5EF4-FFF2-40B4-BE49-F238E27FC236}">
                <a16:creationId xmlns:a16="http://schemas.microsoft.com/office/drawing/2014/main" id="{5773E1FE-EFF0-45D9-823D-1B322AAF21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9089" y="1119110"/>
            <a:ext cx="8053519" cy="3882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84827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D271407-BDBC-4DD2-8573-33D0928EF7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42900" marR="0" lvl="0" indent="-342900" defTabSz="914400" rtl="0" eaLnBrk="1" fontAlgn="auto" latinLnBrk="0" hangingPunct="1">
              <a:lnSpc>
                <a:spcPct val="106000"/>
              </a:lnSpc>
              <a:spcBef>
                <a:spcPts val="1000"/>
              </a:spcBef>
              <a:spcAft>
                <a:spcPts val="800"/>
              </a:spcAft>
              <a:tabLst>
                <a:tab pos="457200" algn="l"/>
              </a:tabLst>
              <a:defRPr/>
            </a:pPr>
            <a:r>
              <a:rPr kumimoji="0" lang="fr-FR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chat d’un tracteur pour 98 000 € HT le 28 novembre</a:t>
            </a:r>
            <a:endParaRPr lang="fr-FR" dirty="0"/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070E4A46-9748-4B11-B8C4-A88DF2A1A85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82818295"/>
              </p:ext>
            </p:extLst>
          </p:nvPr>
        </p:nvGraphicFramePr>
        <p:xfrm>
          <a:off x="838199" y="1513212"/>
          <a:ext cx="11360074" cy="4507260"/>
        </p:xfrm>
        <a:graphic>
          <a:graphicData uri="http://schemas.openxmlformats.org/drawingml/2006/table">
            <a:tbl>
              <a:tblPr/>
              <a:tblGrid>
                <a:gridCol w="1222174">
                  <a:extLst>
                    <a:ext uri="{9D8B030D-6E8A-4147-A177-3AD203B41FA5}">
                      <a16:colId xmlns:a16="http://schemas.microsoft.com/office/drawing/2014/main" val="1258328381"/>
                    </a:ext>
                  </a:extLst>
                </a:gridCol>
                <a:gridCol w="3125559">
                  <a:extLst>
                    <a:ext uri="{9D8B030D-6E8A-4147-A177-3AD203B41FA5}">
                      <a16:colId xmlns:a16="http://schemas.microsoft.com/office/drawing/2014/main" val="1133352103"/>
                    </a:ext>
                  </a:extLst>
                </a:gridCol>
                <a:gridCol w="1616075">
                  <a:extLst>
                    <a:ext uri="{9D8B030D-6E8A-4147-A177-3AD203B41FA5}">
                      <a16:colId xmlns:a16="http://schemas.microsoft.com/office/drawing/2014/main" val="1930605301"/>
                    </a:ext>
                  </a:extLst>
                </a:gridCol>
                <a:gridCol w="2272740">
                  <a:extLst>
                    <a:ext uri="{9D8B030D-6E8A-4147-A177-3AD203B41FA5}">
                      <a16:colId xmlns:a16="http://schemas.microsoft.com/office/drawing/2014/main" val="4010186739"/>
                    </a:ext>
                  </a:extLst>
                </a:gridCol>
                <a:gridCol w="1521303">
                  <a:extLst>
                    <a:ext uri="{9D8B030D-6E8A-4147-A177-3AD203B41FA5}">
                      <a16:colId xmlns:a16="http://schemas.microsoft.com/office/drawing/2014/main" val="3756511537"/>
                    </a:ext>
                  </a:extLst>
                </a:gridCol>
                <a:gridCol w="1602223">
                  <a:extLst>
                    <a:ext uri="{9D8B030D-6E8A-4147-A177-3AD203B41FA5}">
                      <a16:colId xmlns:a16="http://schemas.microsoft.com/office/drawing/2014/main" val="1667115437"/>
                    </a:ext>
                  </a:extLst>
                </a:gridCol>
              </a:tblGrid>
              <a:tr h="901452"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/11/20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5836797"/>
                  </a:ext>
                </a:extLst>
              </a:tr>
              <a:tr h="901452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 Unicode MS"/>
                        </a:rPr>
                        <a:t>607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hats de marchandis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8 00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7086393"/>
                  </a:ext>
                </a:extLst>
              </a:tr>
              <a:tr h="901452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445660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Etat TVA déductible sur achats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19 600,00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9575861"/>
                  </a:ext>
                </a:extLst>
              </a:tr>
              <a:tr h="901452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urnisseur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7 60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3584299"/>
                  </a:ext>
                </a:extLst>
              </a:tr>
              <a:tr h="901452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200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26247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27206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28FB060-F83B-4761-9999-233D8EFBF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as </a:t>
            </a:r>
            <a:r>
              <a:rPr lang="fr-FR" dirty="0" err="1"/>
              <a:t>Révis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C0AB576-1AB1-436B-9FB0-2E1E209A85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5129" y="1825625"/>
            <a:ext cx="11078671" cy="4351338"/>
          </a:xfrm>
        </p:spPr>
        <p:txBody>
          <a:bodyPr>
            <a:normAutofit/>
          </a:bodyPr>
          <a:lstStyle/>
          <a:p>
            <a:pPr marL="342900" lvl="0" indent="-342900" algn="l">
              <a:lnSpc>
                <a:spcPct val="106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fr-FR" sz="2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chat d’un </a:t>
            </a:r>
            <a:r>
              <a:rPr lang="fr-FR" sz="2800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ick</a:t>
            </a:r>
            <a:r>
              <a:rPr lang="fr-FR" sz="2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p simple cabine pour 40 000,00 € HT pour effectuer les livraisons. Achat le 1 octobre 2020</a:t>
            </a:r>
            <a:endParaRPr lang="fr-FR" sz="14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06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fr-FR" sz="2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nte d’un véhicule de </a:t>
            </a:r>
            <a:r>
              <a:rPr lang="fr-FR" sz="2800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oursime</a:t>
            </a:r>
            <a:r>
              <a:rPr lang="fr-FR" sz="2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our 8 490,00 € TTC. </a:t>
            </a:r>
          </a:p>
          <a:p>
            <a:pPr marL="0" lvl="0" indent="0" algn="l">
              <a:lnSpc>
                <a:spcPct val="106000"/>
              </a:lnSpc>
              <a:spcAft>
                <a:spcPts val="800"/>
              </a:spcAft>
              <a:buNone/>
              <a:tabLst>
                <a:tab pos="457200" algn="l"/>
              </a:tabLst>
            </a:pPr>
            <a:r>
              <a:rPr lang="fr-FR" sz="2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 valeur nette comptable était de 8 250 € au 31/12/2019. La valeur d’origine est de 30 000 € TTC acquise le 1 mars 2017</a:t>
            </a:r>
          </a:p>
          <a:p>
            <a:pPr marL="0" lvl="0" indent="0" algn="l">
              <a:lnSpc>
                <a:spcPct val="106000"/>
              </a:lnSpc>
              <a:spcAft>
                <a:spcPts val="800"/>
              </a:spcAft>
              <a:buNone/>
              <a:tabLst>
                <a:tab pos="457200" algn="l"/>
              </a:tabLst>
            </a:pPr>
            <a:r>
              <a:rPr lang="fr-FR" sz="2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mortissement à comptabiliser en 2020 pour 625 €. Comptabiliser la cession. Déterminer la date de cession et la +/- value</a:t>
            </a:r>
            <a:endParaRPr lang="fr-FR" sz="14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1094656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82F132E-7911-4B73-9A30-ED1FC898ED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6"/>
            <a:ext cx="10781963" cy="1301834"/>
          </a:xfrm>
        </p:spPr>
        <p:txBody>
          <a:bodyPr>
            <a:normAutofit fontScale="90000"/>
          </a:bodyPr>
          <a:lstStyle/>
          <a:p>
            <a:r>
              <a:rPr lang="fr-FR" sz="31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chat d’un </a:t>
            </a:r>
            <a:r>
              <a:rPr lang="fr-FR" sz="3100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ick</a:t>
            </a:r>
            <a:r>
              <a:rPr lang="fr-FR" sz="31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up simple cabine pour 40 000,00 € HT pour effectuer les livraisons. Achat le 1 octobre 2020</a:t>
            </a:r>
            <a:br>
              <a:rPr lang="fr-FR" sz="24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fr-FR" dirty="0"/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4BB7188F-5AB5-4D74-A0B9-1DDEA10A16D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16582781"/>
              </p:ext>
            </p:extLst>
          </p:nvPr>
        </p:nvGraphicFramePr>
        <p:xfrm>
          <a:off x="838199" y="1464658"/>
          <a:ext cx="10919527" cy="4750025"/>
        </p:xfrm>
        <a:graphic>
          <a:graphicData uri="http://schemas.openxmlformats.org/drawingml/2006/table">
            <a:tbl>
              <a:tblPr/>
              <a:tblGrid>
                <a:gridCol w="1192999">
                  <a:extLst>
                    <a:ext uri="{9D8B030D-6E8A-4147-A177-3AD203B41FA5}">
                      <a16:colId xmlns:a16="http://schemas.microsoft.com/office/drawing/2014/main" val="2961962734"/>
                    </a:ext>
                  </a:extLst>
                </a:gridCol>
                <a:gridCol w="3050949">
                  <a:extLst>
                    <a:ext uri="{9D8B030D-6E8A-4147-A177-3AD203B41FA5}">
                      <a16:colId xmlns:a16="http://schemas.microsoft.com/office/drawing/2014/main" val="630245109"/>
                    </a:ext>
                  </a:extLst>
                </a:gridCol>
                <a:gridCol w="1408130">
                  <a:extLst>
                    <a:ext uri="{9D8B030D-6E8A-4147-A177-3AD203B41FA5}">
                      <a16:colId xmlns:a16="http://schemas.microsoft.com/office/drawing/2014/main" val="2671814936"/>
                    </a:ext>
                  </a:extLst>
                </a:gridCol>
                <a:gridCol w="2416412">
                  <a:extLst>
                    <a:ext uri="{9D8B030D-6E8A-4147-A177-3AD203B41FA5}">
                      <a16:colId xmlns:a16="http://schemas.microsoft.com/office/drawing/2014/main" val="2554730664"/>
                    </a:ext>
                  </a:extLst>
                </a:gridCol>
                <a:gridCol w="1508098">
                  <a:extLst>
                    <a:ext uri="{9D8B030D-6E8A-4147-A177-3AD203B41FA5}">
                      <a16:colId xmlns:a16="http://schemas.microsoft.com/office/drawing/2014/main" val="1297142871"/>
                    </a:ext>
                  </a:extLst>
                </a:gridCol>
                <a:gridCol w="1342939">
                  <a:extLst>
                    <a:ext uri="{9D8B030D-6E8A-4147-A177-3AD203B41FA5}">
                      <a16:colId xmlns:a16="http://schemas.microsoft.com/office/drawing/2014/main" val="2678684530"/>
                    </a:ext>
                  </a:extLst>
                </a:gridCol>
              </a:tblGrid>
              <a:tr h="950005"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/10/20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0910468"/>
                  </a:ext>
                </a:extLst>
              </a:tr>
              <a:tr h="950005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 Unicode MS"/>
                        </a:rPr>
                        <a:t>2182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2000" dirty="0" err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teriel</a:t>
                      </a:r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e transport – </a:t>
                      </a:r>
                      <a:r>
                        <a:rPr lang="fr-FR" sz="2000" dirty="0" err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ick</a:t>
                      </a:r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u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 00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813779"/>
                  </a:ext>
                </a:extLst>
              </a:tr>
              <a:tr h="950005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44562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Etat tva sur immobilisations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8 000,00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6672555"/>
                  </a:ext>
                </a:extLst>
              </a:tr>
              <a:tr h="950005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urnisseurs d’immobilis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8 00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154579"/>
                  </a:ext>
                </a:extLst>
              </a:tr>
              <a:tr h="950005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200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06603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016085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09E214E-BC29-4441-B08B-419293F0E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878" y="365125"/>
            <a:ext cx="11053720" cy="1325563"/>
          </a:xfrm>
        </p:spPr>
        <p:txBody>
          <a:bodyPr>
            <a:normAutofit fontScale="90000"/>
          </a:bodyPr>
          <a:lstStyle/>
          <a:p>
            <a:r>
              <a:rPr lang="fr-FR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nte d’un véhicule de tourisme pour 8 490,00 € TTC en 2020. </a:t>
            </a:r>
            <a:br>
              <a:rPr lang="fr-FR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1F895DD-2F4A-4FF8-8716-420024C30B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lvl="0" indent="0" algn="l">
              <a:lnSpc>
                <a:spcPct val="106000"/>
              </a:lnSpc>
              <a:spcAft>
                <a:spcPts val="800"/>
              </a:spcAft>
              <a:buNone/>
              <a:tabLst>
                <a:tab pos="457200" algn="l"/>
              </a:tabLst>
            </a:pPr>
            <a:r>
              <a:rPr lang="fr-FR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 valeur nette comptable était de 8 250 € au 31/12/2019. La valeur d’origine est de 30 000 € TTC acquise le 1 mars 2017</a:t>
            </a:r>
          </a:p>
          <a:p>
            <a:pPr marL="0" lvl="0" indent="0" algn="l">
              <a:lnSpc>
                <a:spcPct val="106000"/>
              </a:lnSpc>
              <a:spcAft>
                <a:spcPts val="800"/>
              </a:spcAft>
              <a:buNone/>
              <a:tabLst>
                <a:tab pos="457200" algn="l"/>
              </a:tabLst>
            </a:pPr>
            <a:r>
              <a:rPr lang="fr-FR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mortissement à comptabiliser en 2020 pour 625 €. Comptabiliser la cession. Déterminer la date de cession et la +/- value</a:t>
            </a:r>
          </a:p>
          <a:p>
            <a:pPr marL="0" lvl="0" indent="0" algn="l">
              <a:lnSpc>
                <a:spcPct val="106000"/>
              </a:lnSpc>
              <a:spcAft>
                <a:spcPts val="800"/>
              </a:spcAft>
              <a:buNone/>
              <a:tabLst>
                <a:tab pos="457200" algn="l"/>
              </a:tabLst>
            </a:pPr>
            <a:r>
              <a:rPr lang="fr-FR" sz="20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.O = 30 000 € depuis 1/03/2017 soir à fin 2019 =&gt; 10+12+12 =&gt; 34 mois</a:t>
            </a:r>
          </a:p>
          <a:p>
            <a:pPr marL="0" lvl="0" indent="0" algn="l">
              <a:lnSpc>
                <a:spcPct val="106000"/>
              </a:lnSpc>
              <a:spcAft>
                <a:spcPts val="800"/>
              </a:spcAft>
              <a:buNone/>
              <a:tabLst>
                <a:tab pos="457200" algn="l"/>
              </a:tabLst>
            </a:pPr>
            <a:r>
              <a:rPr lang="fr-FR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NC = VO – Amort ou Amort =&gt; VO-VNC =&gt; 30 000,00 - 8 250,00 = 21 250,00 amorti pour 34 mois soit 625 / € par mois amortissement</a:t>
            </a:r>
          </a:p>
          <a:p>
            <a:pPr marL="0" lvl="0" indent="0" algn="l">
              <a:lnSpc>
                <a:spcPct val="106000"/>
              </a:lnSpc>
              <a:spcAft>
                <a:spcPts val="800"/>
              </a:spcAft>
              <a:buNone/>
              <a:tabLst>
                <a:tab pos="457200" algn="l"/>
              </a:tabLst>
            </a:pPr>
            <a:r>
              <a:rPr lang="fr-FR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oit 625 * 12 = 7 500,00 € par an ce qui représente 30 000,00/ 7 500,00 € = 4 ans d’amortissement</a:t>
            </a:r>
          </a:p>
          <a:p>
            <a:pPr marL="0" lvl="0" indent="0" algn="l">
              <a:lnSpc>
                <a:spcPct val="106000"/>
              </a:lnSpc>
              <a:spcAft>
                <a:spcPts val="800"/>
              </a:spcAft>
              <a:buNone/>
              <a:tabLst>
                <a:tab pos="457200" algn="l"/>
              </a:tabLst>
            </a:pPr>
            <a:r>
              <a:rPr lang="fr-FR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mortissement sur 2020 = 625,00 € soit 1 mois d’amortissement donc vente a eu lieu le 31 janvier 2020,</a:t>
            </a:r>
          </a:p>
          <a:p>
            <a:pPr marL="0" lvl="0" indent="0" algn="l">
              <a:lnSpc>
                <a:spcPct val="106000"/>
              </a:lnSpc>
              <a:spcAft>
                <a:spcPts val="800"/>
              </a:spcAft>
              <a:buNone/>
              <a:tabLst>
                <a:tab pos="457200" algn="l"/>
              </a:tabLst>
            </a:pPr>
            <a:r>
              <a:rPr lang="fr-FR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NC a la date de cession = 8 250,00 – 625,00 = 7 625,00 €</a:t>
            </a:r>
          </a:p>
          <a:p>
            <a:pPr marL="0" lvl="0" indent="0" algn="l">
              <a:lnSpc>
                <a:spcPct val="106000"/>
              </a:lnSpc>
              <a:spcAft>
                <a:spcPts val="800"/>
              </a:spcAft>
              <a:buNone/>
              <a:tabLst>
                <a:tab pos="457200" algn="l"/>
              </a:tabLst>
            </a:pPr>
            <a:r>
              <a:rPr lang="fr-FR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x de vente = 8 490,00 € soit une plus value de </a:t>
            </a:r>
            <a:r>
              <a:rPr lang="fr-FR" sz="2000" dirty="0">
                <a:effectLst/>
                <a:highlight>
                  <a:srgbClr val="00FF00"/>
                </a:highlight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8 490,00 </a:t>
            </a:r>
            <a:r>
              <a:rPr lang="fr-FR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fr-FR" sz="2000" dirty="0">
                <a:effectLst/>
                <a:highlight>
                  <a:srgbClr val="00FF00"/>
                </a:highlight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7 625,00 </a:t>
            </a:r>
            <a:r>
              <a:rPr lang="fr-FR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 865,00 € </a:t>
            </a:r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57678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879E7F02-36FB-4883-8C6B-8551ACAAC36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86526175"/>
              </p:ext>
            </p:extLst>
          </p:nvPr>
        </p:nvGraphicFramePr>
        <p:xfrm>
          <a:off x="248156" y="72827"/>
          <a:ext cx="11695688" cy="2370968"/>
        </p:xfrm>
        <a:graphic>
          <a:graphicData uri="http://schemas.openxmlformats.org/drawingml/2006/table">
            <a:tbl>
              <a:tblPr/>
              <a:tblGrid>
                <a:gridCol w="1226551">
                  <a:extLst>
                    <a:ext uri="{9D8B030D-6E8A-4147-A177-3AD203B41FA5}">
                      <a16:colId xmlns:a16="http://schemas.microsoft.com/office/drawing/2014/main" val="664932413"/>
                    </a:ext>
                  </a:extLst>
                </a:gridCol>
                <a:gridCol w="3283885">
                  <a:extLst>
                    <a:ext uri="{9D8B030D-6E8A-4147-A177-3AD203B41FA5}">
                      <a16:colId xmlns:a16="http://schemas.microsoft.com/office/drawing/2014/main" val="4270407469"/>
                    </a:ext>
                  </a:extLst>
                </a:gridCol>
                <a:gridCol w="1515639">
                  <a:extLst>
                    <a:ext uri="{9D8B030D-6E8A-4147-A177-3AD203B41FA5}">
                      <a16:colId xmlns:a16="http://schemas.microsoft.com/office/drawing/2014/main" val="771701000"/>
                    </a:ext>
                  </a:extLst>
                </a:gridCol>
                <a:gridCol w="2778671">
                  <a:extLst>
                    <a:ext uri="{9D8B030D-6E8A-4147-A177-3AD203B41FA5}">
                      <a16:colId xmlns:a16="http://schemas.microsoft.com/office/drawing/2014/main" val="228452671"/>
                    </a:ext>
                  </a:extLst>
                </a:gridCol>
                <a:gridCol w="1445471">
                  <a:extLst>
                    <a:ext uri="{9D8B030D-6E8A-4147-A177-3AD203B41FA5}">
                      <a16:colId xmlns:a16="http://schemas.microsoft.com/office/drawing/2014/main" val="35459792"/>
                    </a:ext>
                  </a:extLst>
                </a:gridCol>
                <a:gridCol w="1445471">
                  <a:extLst>
                    <a:ext uri="{9D8B030D-6E8A-4147-A177-3AD203B41FA5}">
                      <a16:colId xmlns:a16="http://schemas.microsoft.com/office/drawing/2014/main" val="3908728358"/>
                    </a:ext>
                  </a:extLst>
                </a:gridCol>
              </a:tblGrid>
              <a:tr h="592742">
                <a:tc>
                  <a:txBody>
                    <a:bodyPr/>
                    <a:lstStyle/>
                    <a:p>
                      <a:pPr algn="just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01/20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2553022"/>
                  </a:ext>
                </a:extLst>
              </a:tr>
              <a:tr h="592742">
                <a:tc>
                  <a:txBody>
                    <a:bodyPr/>
                    <a:lstStyle/>
                    <a:p>
                      <a:pPr algn="l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 Unicode MS"/>
                        </a:rPr>
                        <a:t>512/411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nque/Client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 49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6119820"/>
                  </a:ext>
                </a:extLst>
              </a:tr>
              <a:tr h="592742"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775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Prix de cession des éléments d’Actif / PCEA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highlight>
                            <a:srgbClr val="00FF00"/>
                          </a:highlight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8 490,00</a:t>
                      </a:r>
                      <a:endParaRPr lang="fr-FR" sz="1600" dirty="0">
                        <a:effectLst/>
                        <a:highlight>
                          <a:srgbClr val="00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4717666"/>
                  </a:ext>
                </a:extLst>
              </a:tr>
              <a:tr h="592742">
                <a:tc>
                  <a:txBody>
                    <a:bodyPr/>
                    <a:lstStyle/>
                    <a:p>
                      <a:pPr algn="ct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1600" dirty="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1809909"/>
                  </a:ext>
                </a:extLst>
              </a:tr>
            </a:tbl>
          </a:graphicData>
        </a:graphic>
      </p:graphicFrame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F9752BE0-DD86-4645-AB1B-0585E3F3EC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7177933"/>
              </p:ext>
            </p:extLst>
          </p:nvPr>
        </p:nvGraphicFramePr>
        <p:xfrm>
          <a:off x="372234" y="2443796"/>
          <a:ext cx="11571610" cy="1577944"/>
        </p:xfrm>
        <a:graphic>
          <a:graphicData uri="http://schemas.openxmlformats.org/drawingml/2006/table">
            <a:tbl>
              <a:tblPr/>
              <a:tblGrid>
                <a:gridCol w="1264241">
                  <a:extLst>
                    <a:ext uri="{9D8B030D-6E8A-4147-A177-3AD203B41FA5}">
                      <a16:colId xmlns:a16="http://schemas.microsoft.com/office/drawing/2014/main" val="3101630599"/>
                    </a:ext>
                  </a:extLst>
                </a:gridCol>
                <a:gridCol w="3233141">
                  <a:extLst>
                    <a:ext uri="{9D8B030D-6E8A-4147-A177-3AD203B41FA5}">
                      <a16:colId xmlns:a16="http://schemas.microsoft.com/office/drawing/2014/main" val="805416135"/>
                    </a:ext>
                  </a:extLst>
                </a:gridCol>
                <a:gridCol w="1492220">
                  <a:extLst>
                    <a:ext uri="{9D8B030D-6E8A-4147-A177-3AD203B41FA5}">
                      <a16:colId xmlns:a16="http://schemas.microsoft.com/office/drawing/2014/main" val="136644728"/>
                    </a:ext>
                  </a:extLst>
                </a:gridCol>
                <a:gridCol w="2735736">
                  <a:extLst>
                    <a:ext uri="{9D8B030D-6E8A-4147-A177-3AD203B41FA5}">
                      <a16:colId xmlns:a16="http://schemas.microsoft.com/office/drawing/2014/main" val="3060822376"/>
                    </a:ext>
                  </a:extLst>
                </a:gridCol>
                <a:gridCol w="1423136">
                  <a:extLst>
                    <a:ext uri="{9D8B030D-6E8A-4147-A177-3AD203B41FA5}">
                      <a16:colId xmlns:a16="http://schemas.microsoft.com/office/drawing/2014/main" val="80083608"/>
                    </a:ext>
                  </a:extLst>
                </a:gridCol>
                <a:gridCol w="1423136">
                  <a:extLst>
                    <a:ext uri="{9D8B030D-6E8A-4147-A177-3AD203B41FA5}">
                      <a16:colId xmlns:a16="http://schemas.microsoft.com/office/drawing/2014/main" val="696187196"/>
                    </a:ext>
                  </a:extLst>
                </a:gridCol>
              </a:tblGrid>
              <a:tr h="394486">
                <a:tc>
                  <a:txBody>
                    <a:bodyPr/>
                    <a:lstStyle/>
                    <a:p>
                      <a:pPr algn="just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/12/20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2588487"/>
                  </a:ext>
                </a:extLst>
              </a:tr>
              <a:tr h="394486">
                <a:tc>
                  <a:txBody>
                    <a:bodyPr/>
                    <a:lstStyle/>
                    <a:p>
                      <a:pPr algn="l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 Unicode MS"/>
                        </a:rPr>
                        <a:t>6811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otations aux amortissement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2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9330151"/>
                  </a:ext>
                </a:extLst>
              </a:tr>
              <a:tr h="394486"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28182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Amortissement du matériel de transport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625,00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8942369"/>
                  </a:ext>
                </a:extLst>
              </a:tr>
              <a:tr h="394486">
                <a:tc>
                  <a:txBody>
                    <a:bodyPr/>
                    <a:lstStyle/>
                    <a:p>
                      <a:pPr algn="ct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1600" dirty="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5516831"/>
                  </a:ext>
                </a:extLst>
              </a:tr>
            </a:tbl>
          </a:graphicData>
        </a:graphic>
      </p:graphicFrame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B7D6896C-45D9-41AC-BEF6-6515A45077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1778004"/>
              </p:ext>
            </p:extLst>
          </p:nvPr>
        </p:nvGraphicFramePr>
        <p:xfrm>
          <a:off x="434792" y="4181734"/>
          <a:ext cx="11571610" cy="1750036"/>
        </p:xfrm>
        <a:graphic>
          <a:graphicData uri="http://schemas.openxmlformats.org/drawingml/2006/table">
            <a:tbl>
              <a:tblPr/>
              <a:tblGrid>
                <a:gridCol w="1264242">
                  <a:extLst>
                    <a:ext uri="{9D8B030D-6E8A-4147-A177-3AD203B41FA5}">
                      <a16:colId xmlns:a16="http://schemas.microsoft.com/office/drawing/2014/main" val="397278637"/>
                    </a:ext>
                  </a:extLst>
                </a:gridCol>
                <a:gridCol w="3233142">
                  <a:extLst>
                    <a:ext uri="{9D8B030D-6E8A-4147-A177-3AD203B41FA5}">
                      <a16:colId xmlns:a16="http://schemas.microsoft.com/office/drawing/2014/main" val="1485459671"/>
                    </a:ext>
                  </a:extLst>
                </a:gridCol>
                <a:gridCol w="1492220">
                  <a:extLst>
                    <a:ext uri="{9D8B030D-6E8A-4147-A177-3AD203B41FA5}">
                      <a16:colId xmlns:a16="http://schemas.microsoft.com/office/drawing/2014/main" val="3205140285"/>
                    </a:ext>
                  </a:extLst>
                </a:gridCol>
                <a:gridCol w="2735736">
                  <a:extLst>
                    <a:ext uri="{9D8B030D-6E8A-4147-A177-3AD203B41FA5}">
                      <a16:colId xmlns:a16="http://schemas.microsoft.com/office/drawing/2014/main" val="1961425070"/>
                    </a:ext>
                  </a:extLst>
                </a:gridCol>
                <a:gridCol w="1423135">
                  <a:extLst>
                    <a:ext uri="{9D8B030D-6E8A-4147-A177-3AD203B41FA5}">
                      <a16:colId xmlns:a16="http://schemas.microsoft.com/office/drawing/2014/main" val="1937311752"/>
                    </a:ext>
                  </a:extLst>
                </a:gridCol>
                <a:gridCol w="1423135">
                  <a:extLst>
                    <a:ext uri="{9D8B030D-6E8A-4147-A177-3AD203B41FA5}">
                      <a16:colId xmlns:a16="http://schemas.microsoft.com/office/drawing/2014/main" val="1329302321"/>
                    </a:ext>
                  </a:extLst>
                </a:gridCol>
              </a:tblGrid>
              <a:tr h="315589">
                <a:tc>
                  <a:txBody>
                    <a:bodyPr/>
                    <a:lstStyle/>
                    <a:p>
                      <a:pPr algn="just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20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5604789"/>
                  </a:ext>
                </a:extLst>
              </a:tr>
              <a:tr h="315589">
                <a:tc>
                  <a:txBody>
                    <a:bodyPr/>
                    <a:lstStyle/>
                    <a:p>
                      <a:pPr algn="l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Arial Unicode MS"/>
                        </a:rPr>
                        <a:t>675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aleur Comptable des éléments d’actifs cédés / VCEA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highlight>
                            <a:srgbClr val="00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 62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5386757"/>
                  </a:ext>
                </a:extLst>
              </a:tr>
              <a:tr h="315589">
                <a:tc>
                  <a:txBody>
                    <a:bodyPr/>
                    <a:lstStyle/>
                    <a:p>
                      <a:pPr algn="l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28182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Amortissements du matériel de transport (c’est le cumul à la date de cession)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22 375,00 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9049739"/>
                  </a:ext>
                </a:extLst>
              </a:tr>
              <a:tr h="315589"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8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tériel de transport – véhicule société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0 00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2228755"/>
                  </a:ext>
                </a:extLst>
              </a:tr>
              <a:tr h="315589">
                <a:tc>
                  <a:txBody>
                    <a:bodyPr/>
                    <a:lstStyle/>
                    <a:p>
                      <a:pPr algn="ctr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fr-FR" sz="160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600" dirty="0">
                          <a:effectLst/>
                          <a:latin typeface="Verdana" panose="020B0604030504040204" pitchFamily="34" charset="0"/>
                          <a:ea typeface="Arial Unicode MS"/>
                          <a:cs typeface="Times New Roman" panose="02020603050405020304" pitchFamily="18" charset="0"/>
                        </a:rPr>
                        <a:t> </a:t>
                      </a:r>
                      <a:endParaRPr lang="fr-FR" sz="16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8433968"/>
                  </a:ext>
                </a:extLst>
              </a:tr>
            </a:tbl>
          </a:graphicData>
        </a:graphic>
      </p:graphicFrame>
      <p:sp>
        <p:nvSpPr>
          <p:cNvPr id="7" name="ZoneTexte 6">
            <a:extLst>
              <a:ext uri="{FF2B5EF4-FFF2-40B4-BE49-F238E27FC236}">
                <a16:creationId xmlns:a16="http://schemas.microsoft.com/office/drawing/2014/main" id="{DC8AC3C5-ED6C-4640-A9FA-F2B2665F23CF}"/>
              </a:ext>
            </a:extLst>
          </p:cNvPr>
          <p:cNvSpPr txBox="1"/>
          <p:nvPr/>
        </p:nvSpPr>
        <p:spPr>
          <a:xfrm>
            <a:off x="566442" y="6052842"/>
            <a:ext cx="113126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Calcul de la Plus Value : comptes 775 – 675 soit 8 490,00 – 7 625,00 = 865,00 € </a:t>
            </a:r>
          </a:p>
        </p:txBody>
      </p:sp>
    </p:spTree>
    <p:extLst>
      <p:ext uri="{BB962C8B-B14F-4D97-AF65-F5344CB8AC3E}">
        <p14:creationId xmlns:p14="http://schemas.microsoft.com/office/powerpoint/2010/main" val="54747812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angle 87">
            <a:extLst>
              <a:ext uri="{FF2B5EF4-FFF2-40B4-BE49-F238E27FC236}">
                <a16:creationId xmlns:a16="http://schemas.microsoft.com/office/drawing/2014/main" id="{16C5FA50-8D52-4617-AF91-5C7B1C8352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456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3496" y="618681"/>
            <a:ext cx="2613872" cy="4794567"/>
          </a:xfrm>
          <a:prstGeom prst="ellipse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>
                <a:solidFill>
                  <a:srgbClr val="FFFFFF"/>
                </a:solidFill>
              </a:rPr>
              <a:t>Merci</a:t>
            </a:r>
          </a:p>
        </p:txBody>
      </p:sp>
      <p:sp>
        <p:nvSpPr>
          <p:cNvPr id="90" name="Rounded Rectangle 9">
            <a:extLst>
              <a:ext uri="{FF2B5EF4-FFF2-40B4-BE49-F238E27FC236}">
                <a16:creationId xmlns:a16="http://schemas.microsoft.com/office/drawing/2014/main" id="{E223798C-12AD-4B0C-A50C-D676347D67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3354" y="484632"/>
            <a:ext cx="8129016" cy="5724144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C8CACA"/>
            </a:solidFill>
          </a:ln>
          <a:effectLst>
            <a:outerShdw blurRad="57150" dist="19050" dir="5400000" algn="t" rotWithShape="0">
              <a:prstClr val="black">
                <a:alpha val="6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5579" r="5579"/>
          <a:stretch/>
        </p:blipFill>
        <p:spPr>
          <a:xfrm>
            <a:off x="976251" y="942538"/>
            <a:ext cx="7163222" cy="4808332"/>
          </a:xfrm>
          <a:prstGeom prst="rect">
            <a:avLst/>
          </a:prstGeom>
          <a:effectLst/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53131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3A5B4632-C963-4296-86F0-79AA9EA5AE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8328" y="303591"/>
            <a:ext cx="4335327" cy="589674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27000" cap="sq" cmpd="thinThick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5455007-8AF7-4CFF-8B0D-381E697B67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" y="637125"/>
            <a:ext cx="3423967" cy="5256371"/>
          </a:xfrm>
        </p:spPr>
        <p:txBody>
          <a:bodyPr>
            <a:normAutofit/>
          </a:bodyPr>
          <a:lstStyle/>
          <a:p>
            <a:r>
              <a:rPr lang="fr-FR" sz="4800" dirty="0">
                <a:solidFill>
                  <a:schemeClr val="bg1"/>
                </a:solidFill>
              </a:rPr>
              <a:t>Les principes</a:t>
            </a:r>
          </a:p>
        </p:txBody>
      </p:sp>
      <p:graphicFrame>
        <p:nvGraphicFramePr>
          <p:cNvPr id="5" name="Espace réservé du contenu 2">
            <a:extLst>
              <a:ext uri="{FF2B5EF4-FFF2-40B4-BE49-F238E27FC236}">
                <a16:creationId xmlns:a16="http://schemas.microsoft.com/office/drawing/2014/main" id="{0C899C7D-CFDA-4D32-B2E9-07B40C3BB1B2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166985" y="303591"/>
          <a:ext cx="6588691" cy="58967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378488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43000" r="43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 81">
            <a:extLst>
              <a:ext uri="{FF2B5EF4-FFF2-40B4-BE49-F238E27FC236}">
                <a16:creationId xmlns:a16="http://schemas.microsoft.com/office/drawing/2014/main" id="{CDDE5CDF-1512-4CDA-B956-23D223F8DE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B029D7D8-5A6B-4C76-94C8-15798C6C5A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A5C9319C-E20D-4884-952F-60B6A58C3E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88" name="Rectangle 87">
            <a:extLst>
              <a:ext uri="{FF2B5EF4-FFF2-40B4-BE49-F238E27FC236}">
                <a16:creationId xmlns:a16="http://schemas.microsoft.com/office/drawing/2014/main" id="{F1176DA6-4BBF-42A4-9C94-E6613CCD6B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99AAB0AE-172B-4FB4-80C2-86CD6B8242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12" y="480060"/>
            <a:ext cx="11237976" cy="5897880"/>
          </a:xfrm>
          <a:prstGeom prst="rect">
            <a:avLst/>
          </a:prstGeom>
          <a:solidFill>
            <a:schemeClr val="bg1"/>
          </a:solidFill>
          <a:ln w="22225">
            <a:solidFill>
              <a:srgbClr val="FEBA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BA6FDF90-98B7-4DE7-9DA2-593814214C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9055" y="1539416"/>
            <a:ext cx="10629477" cy="3879758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2104DD9E-7F53-465D-8561-41BB61362ACA}"/>
              </a:ext>
            </a:extLst>
          </p:cNvPr>
          <p:cNvSpPr txBox="1"/>
          <p:nvPr/>
        </p:nvSpPr>
        <p:spPr>
          <a:xfrm>
            <a:off x="1451579" y="2464991"/>
            <a:ext cx="9405891" cy="240357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0" marR="0" lvl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B71E4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E511234-0564-45CF-9753-9673E2310CC0}"/>
              </a:ext>
            </a:extLst>
          </p:cNvPr>
          <p:cNvSpPr txBox="1"/>
          <p:nvPr/>
        </p:nvSpPr>
        <p:spPr>
          <a:xfrm>
            <a:off x="560673" y="3849358"/>
            <a:ext cx="11295530" cy="2024498"/>
          </a:xfrm>
          <a:prstGeom prst="rect">
            <a:avLst/>
          </a:prstGeom>
        </p:spPr>
        <p:txBody>
          <a:bodyPr vert="horz" lIns="91440" tIns="91440" rIns="91440" bIns="9144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B71E42"/>
              </a:buClr>
              <a:buSzPct val="100000"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54193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982413CC-69E6-4BDA-A88D-E4EF8F95B2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F1F7357-8633-4CE7-BF80-475EE8A2FA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E402FE4E-C12D-497C-AF81-F08E4E02B4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06513" y="0"/>
              <a:ext cx="3862388" cy="6843713"/>
            </a:xfrm>
            <a:custGeom>
              <a:avLst/>
              <a:gdLst>
                <a:gd name="T0" fmla="*/ 813 w 813"/>
                <a:gd name="T1" fmla="*/ 0 h 1440"/>
                <a:gd name="T2" fmla="*/ 435 w 813"/>
                <a:gd name="T3" fmla="*/ 144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59247B10-170D-4E62-849A-38FCB43C6AF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626725" y="9525"/>
              <a:ext cx="1539875" cy="555625"/>
            </a:xfrm>
            <a:custGeom>
              <a:avLst/>
              <a:gdLst>
                <a:gd name="T0" fmla="*/ 324 w 324"/>
                <a:gd name="T1" fmla="*/ 117 h 117"/>
                <a:gd name="T2" fmla="*/ 0 w 324"/>
                <a:gd name="T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89A587A7-1BEF-45AA-9EFC-6558A8749CE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247313" y="5013325"/>
              <a:ext cx="1919288" cy="1830388"/>
            </a:xfrm>
            <a:custGeom>
              <a:avLst/>
              <a:gdLst>
                <a:gd name="T0" fmla="*/ 0 w 404"/>
                <a:gd name="T1" fmla="*/ 385 h 385"/>
                <a:gd name="T2" fmla="*/ 404 w 404"/>
                <a:gd name="T3" fmla="*/ 0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AC25B5A1-6EF7-44EC-A2F0-1EDC96A79B0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120775" y="0"/>
              <a:ext cx="3676650" cy="6843713"/>
            </a:xfrm>
            <a:custGeom>
              <a:avLst/>
              <a:gdLst>
                <a:gd name="T0" fmla="*/ 774 w 774"/>
                <a:gd name="T1" fmla="*/ 0 h 1440"/>
                <a:gd name="T2" fmla="*/ 411 w 774"/>
                <a:gd name="T3" fmla="*/ 144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0B8582C-7E17-4115-9FF1-979C8405CB5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1202988" y="9525"/>
              <a:ext cx="963613" cy="366713"/>
            </a:xfrm>
            <a:custGeom>
              <a:avLst/>
              <a:gdLst>
                <a:gd name="T0" fmla="*/ 203 w 203"/>
                <a:gd name="T1" fmla="*/ 77 h 77"/>
                <a:gd name="T2" fmla="*/ 0 w 203"/>
                <a:gd name="T3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F6C4AB66-7A18-4E51-935B-237F4CA827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494963" y="5275263"/>
              <a:ext cx="1666875" cy="1577975"/>
            </a:xfrm>
            <a:custGeom>
              <a:avLst/>
              <a:gdLst>
                <a:gd name="T0" fmla="*/ 0 w 351"/>
                <a:gd name="T1" fmla="*/ 332 h 332"/>
                <a:gd name="T2" fmla="*/ 351 w 351"/>
                <a:gd name="T3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F12911-A240-4580-8788-0C49DB1FED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01713" y="0"/>
              <a:ext cx="3621088" cy="6843713"/>
            </a:xfrm>
            <a:custGeom>
              <a:avLst/>
              <a:gdLst>
                <a:gd name="T0" fmla="*/ 762 w 762"/>
                <a:gd name="T1" fmla="*/ 0 h 1440"/>
                <a:gd name="T2" fmla="*/ 403 w 762"/>
                <a:gd name="T3" fmla="*/ 144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EAE0F5DE-442D-4F6C-B02C-2568ED1958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1501438" y="9525"/>
              <a:ext cx="665163" cy="257175"/>
            </a:xfrm>
            <a:custGeom>
              <a:avLst/>
              <a:gdLst>
                <a:gd name="T0" fmla="*/ 140 w 140"/>
                <a:gd name="T1" fmla="*/ 54 h 54"/>
                <a:gd name="T2" fmla="*/ 0 w 140"/>
                <a:gd name="T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4F24A002-AFDE-4034-85BE-CBF005AE923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641013" y="5408613"/>
              <a:ext cx="1525588" cy="1435100"/>
            </a:xfrm>
            <a:custGeom>
              <a:avLst/>
              <a:gdLst>
                <a:gd name="T0" fmla="*/ 0 w 321"/>
                <a:gd name="T1" fmla="*/ 302 h 302"/>
                <a:gd name="T2" fmla="*/ 321 w 321"/>
                <a:gd name="T3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36F0721E-B4B0-4A6C-A92C-F8DE92D3AC0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01713" y="0"/>
              <a:ext cx="3244850" cy="6843713"/>
            </a:xfrm>
            <a:custGeom>
              <a:avLst/>
              <a:gdLst>
                <a:gd name="T0" fmla="*/ 683 w 683"/>
                <a:gd name="T1" fmla="*/ 0 h 1440"/>
                <a:gd name="T2" fmla="*/ 355 w 683"/>
                <a:gd name="T3" fmla="*/ 144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54D2DC98-69F8-4F2F-9D45-BDFFA5E2BBB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802938" y="5518150"/>
              <a:ext cx="1363663" cy="1325563"/>
            </a:xfrm>
            <a:custGeom>
              <a:avLst/>
              <a:gdLst>
                <a:gd name="T0" fmla="*/ 0 w 287"/>
                <a:gd name="T1" fmla="*/ 279 h 279"/>
                <a:gd name="T2" fmla="*/ 287 w 287"/>
                <a:gd name="T3" fmla="*/ 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0A636E33-DC38-40B9-B941-037E5D8603F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89000" y="0"/>
              <a:ext cx="3230563" cy="6843713"/>
            </a:xfrm>
            <a:custGeom>
              <a:avLst/>
              <a:gdLst>
                <a:gd name="T0" fmla="*/ 680 w 680"/>
                <a:gd name="T1" fmla="*/ 0 h 1440"/>
                <a:gd name="T2" fmla="*/ 337 w 680"/>
                <a:gd name="T3" fmla="*/ 144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03D30690-68C2-4AEC-9789-1495D97E194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979150" y="5694363"/>
              <a:ext cx="1187450" cy="1149350"/>
            </a:xfrm>
            <a:custGeom>
              <a:avLst/>
              <a:gdLst>
                <a:gd name="T0" fmla="*/ 0 w 250"/>
                <a:gd name="T1" fmla="*/ 242 h 242"/>
                <a:gd name="T2" fmla="*/ 250 w 250"/>
                <a:gd name="T3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1020B1B9-821B-49FB-BDC9-57DA08CBC30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484188" y="0"/>
              <a:ext cx="3421063" cy="6843713"/>
            </a:xfrm>
            <a:custGeom>
              <a:avLst/>
              <a:gdLst>
                <a:gd name="T0" fmla="*/ 720 w 720"/>
                <a:gd name="T1" fmla="*/ 0 h 1440"/>
                <a:gd name="T2" fmla="*/ 362 w 720"/>
                <a:gd name="T3" fmla="*/ 144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720EDCE4-8B18-413F-989E-E79628E5AF1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1287125" y="6049963"/>
              <a:ext cx="879475" cy="793750"/>
            </a:xfrm>
            <a:custGeom>
              <a:avLst/>
              <a:gdLst>
                <a:gd name="T0" fmla="*/ 0 w 185"/>
                <a:gd name="T1" fmla="*/ 167 h 167"/>
                <a:gd name="T2" fmla="*/ 185 w 185"/>
                <a:gd name="T3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8563351E-0DDD-4FC8-8D0C-1E446E3C1B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598488" y="0"/>
              <a:ext cx="2717800" cy="6843713"/>
            </a:xfrm>
            <a:custGeom>
              <a:avLst/>
              <a:gdLst>
                <a:gd name="T0" fmla="*/ 572 w 572"/>
                <a:gd name="T1" fmla="*/ 0 h 1440"/>
                <a:gd name="T2" fmla="*/ 164 w 572"/>
                <a:gd name="T3" fmla="*/ 144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15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15E8B705-64E7-4513-B3CB-BF46C35732B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61938" y="0"/>
              <a:ext cx="2944813" cy="6843713"/>
            </a:xfrm>
            <a:custGeom>
              <a:avLst/>
              <a:gdLst>
                <a:gd name="T0" fmla="*/ 620 w 620"/>
                <a:gd name="T1" fmla="*/ 0 h 1440"/>
                <a:gd name="T2" fmla="*/ 186 w 620"/>
                <a:gd name="T3" fmla="*/ 144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30DAEE1C-EBB5-47F5-9E76-564FCFDBFC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417513" y="0"/>
              <a:ext cx="2403475" cy="6843713"/>
            </a:xfrm>
            <a:custGeom>
              <a:avLst/>
              <a:gdLst>
                <a:gd name="T0" fmla="*/ 506 w 506"/>
                <a:gd name="T1" fmla="*/ 0 h 1440"/>
                <a:gd name="T2" fmla="*/ 171 w 506"/>
                <a:gd name="T3" fmla="*/ 144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23">
              <a:extLst>
                <a:ext uri="{FF2B5EF4-FFF2-40B4-BE49-F238E27FC236}">
                  <a16:creationId xmlns:a16="http://schemas.microsoft.com/office/drawing/2014/main" id="{EDB255E9-A3E2-4098-99A1-FE38FAD15D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4288" y="9525"/>
              <a:ext cx="1771650" cy="3198813"/>
            </a:xfrm>
            <a:custGeom>
              <a:avLst/>
              <a:gdLst>
                <a:gd name="T0" fmla="*/ 373 w 373"/>
                <a:gd name="T1" fmla="*/ 0 h 673"/>
                <a:gd name="T2" fmla="*/ 0 w 373"/>
                <a:gd name="T3" fmla="*/ 673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D2507F2A-27AF-4833-8273-5FC9A98863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4763" y="6016625"/>
              <a:ext cx="214313" cy="827088"/>
            </a:xfrm>
            <a:custGeom>
              <a:avLst/>
              <a:gdLst>
                <a:gd name="T0" fmla="*/ 0 w 45"/>
                <a:gd name="T1" fmla="*/ 0 h 174"/>
                <a:gd name="T2" fmla="*/ 45 w 45"/>
                <a:gd name="T3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8DFB8904-0CB8-45AD-ABD2-F7A582365E8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4288" y="0"/>
              <a:ext cx="1562100" cy="2228850"/>
            </a:xfrm>
            <a:custGeom>
              <a:avLst/>
              <a:gdLst>
                <a:gd name="T0" fmla="*/ 329 w 329"/>
                <a:gd name="T1" fmla="*/ 0 h 469"/>
                <a:gd name="T2" fmla="*/ 0 w 329"/>
                <a:gd name="T3" fmla="*/ 469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1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4A6E514C-D3C4-4B29-BB5C-DB98C7CA5742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07722" y="1178351"/>
          <a:ext cx="10576558" cy="49880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ZoneTexte 1">
            <a:extLst>
              <a:ext uri="{FF2B5EF4-FFF2-40B4-BE49-F238E27FC236}">
                <a16:creationId xmlns:a16="http://schemas.microsoft.com/office/drawing/2014/main" id="{232A2D28-A06C-48FD-ABB4-EB7E27B84308}"/>
              </a:ext>
            </a:extLst>
          </p:cNvPr>
          <p:cNvSpPr txBox="1"/>
          <p:nvPr/>
        </p:nvSpPr>
        <p:spPr>
          <a:xfrm>
            <a:off x="3464653" y="729842"/>
            <a:ext cx="48220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PPEL</a:t>
            </a:r>
          </a:p>
        </p:txBody>
      </p:sp>
    </p:spTree>
    <p:extLst>
      <p:ext uri="{BB962C8B-B14F-4D97-AF65-F5344CB8AC3E}">
        <p14:creationId xmlns:p14="http://schemas.microsoft.com/office/powerpoint/2010/main" val="38920754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CE1063C-26E9-451E-B581-F9094F771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5430" y="629268"/>
            <a:ext cx="6586491" cy="1286160"/>
          </a:xfrm>
        </p:spPr>
        <p:txBody>
          <a:bodyPr anchor="b">
            <a:normAutofit/>
          </a:bodyPr>
          <a:lstStyle/>
          <a:p>
            <a:r>
              <a:rPr lang="fr-FR" dirty="0"/>
              <a:t>L’annex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547C894-6E87-49E2-8590-12B2A7E706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5431" y="2438400"/>
            <a:ext cx="6586489" cy="3785419"/>
          </a:xfrm>
        </p:spPr>
        <p:txBody>
          <a:bodyPr>
            <a:normAutofit/>
          </a:bodyPr>
          <a:lstStyle/>
          <a:p>
            <a:r>
              <a:rPr lang="fr-FR" sz="4000" dirty="0"/>
              <a:t>Réel simplifié</a:t>
            </a:r>
          </a:p>
          <a:p>
            <a:r>
              <a:rPr lang="fr-FR" sz="4000" dirty="0"/>
              <a:t>Réel normal</a:t>
            </a:r>
          </a:p>
        </p:txBody>
      </p:sp>
      <p:pic>
        <p:nvPicPr>
          <p:cNvPr id="5" name="Picture 4" descr="Notes adhésifs sur les murs de verre">
            <a:extLst>
              <a:ext uri="{FF2B5EF4-FFF2-40B4-BE49-F238E27FC236}">
                <a16:creationId xmlns:a16="http://schemas.microsoft.com/office/drawing/2014/main" id="{27D996A6-758F-4354-9504-B9EFAC8C865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236" r="27645" b="-1"/>
          <a:stretch/>
        </p:blipFill>
        <p:spPr>
          <a:xfrm>
            <a:off x="20" y="10"/>
            <a:ext cx="4635571" cy="6857990"/>
          </a:xfrm>
          <a:prstGeom prst="rect">
            <a:avLst/>
          </a:prstGeom>
          <a:effectLst/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F400EE-A8A5-48AF-B4D6-291B52C6F0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080934" y="2115117"/>
            <a:ext cx="6309360" cy="0"/>
          </a:xfrm>
          <a:prstGeom prst="line">
            <a:avLst/>
          </a:prstGeom>
          <a:ln w="19050">
            <a:solidFill>
              <a:srgbClr val="EB51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93633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33B0842C-4C1E-4B72-B8DA-63DEA1518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/>
              <a:t>L’annexe :</a:t>
            </a:r>
          </a:p>
        </p:txBody>
      </p:sp>
      <p:sp>
        <p:nvSpPr>
          <p:cNvPr id="10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41643EB-4CF3-437C-9A3A-90F910A5EE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29384"/>
            <a:ext cx="10515600" cy="4251960"/>
          </a:xfrm>
        </p:spPr>
        <p:txBody>
          <a:bodyPr>
            <a:normAutofit/>
          </a:bodyPr>
          <a:lstStyle/>
          <a:p>
            <a:r>
              <a:rPr lang="fr-FR" b="0" i="0" dirty="0">
                <a:effectLst/>
                <a:latin typeface="Cera"/>
              </a:rPr>
              <a:t>L’annexe comptable est un élément constitutif des états financiers d'une société. </a:t>
            </a:r>
          </a:p>
          <a:p>
            <a:pPr marL="0" indent="0">
              <a:buNone/>
            </a:pPr>
            <a:endParaRPr lang="fr-FR" b="0" i="0" dirty="0">
              <a:effectLst/>
              <a:latin typeface="Cera"/>
            </a:endParaRPr>
          </a:p>
          <a:p>
            <a:pPr marL="0" indent="0">
              <a:buNone/>
            </a:pPr>
            <a:r>
              <a:rPr lang="fr-FR" b="0" i="0" dirty="0">
                <a:effectLst/>
                <a:latin typeface="Cera"/>
              </a:rPr>
              <a:t>=&gt;Son objectif est d'apporter des informations et d’aider à la compréhension du </a:t>
            </a:r>
            <a:r>
              <a:rPr lang="fr-FR" b="0" i="0" dirty="0">
                <a:effectLst/>
                <a:latin typeface="Cera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pte de résultat </a:t>
            </a:r>
            <a:r>
              <a:rPr lang="fr-FR" b="0" i="0" dirty="0">
                <a:effectLst/>
                <a:latin typeface="Cera"/>
              </a:rPr>
              <a:t>et du </a:t>
            </a:r>
            <a:r>
              <a:rPr lang="fr-FR" b="0" i="0" dirty="0">
                <a:effectLst/>
                <a:latin typeface="Cera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ilan </a:t>
            </a:r>
            <a:r>
              <a:rPr lang="fr-FR" b="0" i="0" dirty="0">
                <a:effectLst/>
                <a:latin typeface="Cera"/>
              </a:rPr>
              <a:t>. </a:t>
            </a:r>
          </a:p>
          <a:p>
            <a:endParaRPr lang="fr-FR" dirty="0">
              <a:latin typeface="Cera"/>
            </a:endParaRPr>
          </a:p>
          <a:p>
            <a:r>
              <a:rPr lang="fr-FR" b="0" i="0" dirty="0">
                <a:effectLst/>
                <a:latin typeface="Cera"/>
              </a:rPr>
              <a:t>Les annexes contiennent des informations obligatoires dont le nombre varie selon la taille, la forme de l'entreprise et toutes les informations pertinentes afin de refléter l'image fidèle de l'entreprise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57876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Galerie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41</TotalTime>
  <Words>1702</Words>
  <Application>Microsoft Office PowerPoint</Application>
  <PresentationFormat>Grand écran</PresentationFormat>
  <Paragraphs>491</Paragraphs>
  <Slides>45</Slides>
  <Notes>5</Notes>
  <HiddenSlides>0</HiddenSlides>
  <MMClips>0</MMClips>
  <ScaleCrop>false</ScaleCrop>
  <HeadingPairs>
    <vt:vector size="6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3</vt:i4>
      </vt:variant>
      <vt:variant>
        <vt:lpstr>Titres des diapositives</vt:lpstr>
      </vt:variant>
      <vt:variant>
        <vt:i4>45</vt:i4>
      </vt:variant>
    </vt:vector>
  </HeadingPairs>
  <TitlesOfParts>
    <vt:vector size="55" baseType="lpstr">
      <vt:lpstr>Arial</vt:lpstr>
      <vt:lpstr>Calibri</vt:lpstr>
      <vt:lpstr>Calibri Light</vt:lpstr>
      <vt:lpstr>Cera</vt:lpstr>
      <vt:lpstr>Gill Sans MT</vt:lpstr>
      <vt:lpstr>Times New Roman</vt:lpstr>
      <vt:lpstr>Verdana</vt:lpstr>
      <vt:lpstr>Thème Office</vt:lpstr>
      <vt:lpstr>1_Thème Office</vt:lpstr>
      <vt:lpstr>Galerie</vt:lpstr>
      <vt:lpstr>Université de Montpellier </vt:lpstr>
      <vt:lpstr>Programme prévisionnel</vt:lpstr>
      <vt:lpstr>Annexe + Révisions</vt:lpstr>
      <vt:lpstr>Présentation PowerPoint</vt:lpstr>
      <vt:lpstr>Les principes</vt:lpstr>
      <vt:lpstr>Présentation PowerPoint</vt:lpstr>
      <vt:lpstr>Présentation PowerPoint</vt:lpstr>
      <vt:lpstr>L’annexe</vt:lpstr>
      <vt:lpstr>L’annexe :</vt:lpstr>
      <vt:lpstr>Annexe =&gt; seuils</vt:lpstr>
      <vt:lpstr>Annexe</vt:lpstr>
      <vt:lpstr>Annexe =&gt; réel simplifié (RSI) = Abrégé</vt:lpstr>
      <vt:lpstr>Annexe – Réel normal =&gt; Développé</vt:lpstr>
      <vt:lpstr>Annexe – Réel normal =&gt; Développé</vt:lpstr>
      <vt:lpstr>Annexe – Réel normal =&gt; Développé</vt:lpstr>
      <vt:lpstr>Annexe régime réel normal</vt:lpstr>
      <vt:lpstr>Présentation PowerPoint</vt:lpstr>
      <vt:lpstr>Renseignements complémentaires - CR</vt:lpstr>
      <vt:lpstr>Amortissement</vt:lpstr>
      <vt:lpstr>Réponse</vt:lpstr>
      <vt:lpstr>Amortissements</vt:lpstr>
      <vt:lpstr>Présentation PowerPoint</vt:lpstr>
      <vt:lpstr>Révision – Cas Révis</vt:lpstr>
      <vt:lpstr>Cas Révis</vt:lpstr>
      <vt:lpstr>Vente d’une marchandise 500€ HT le 12 mai , achetée 280 € TTC le 8 avril </vt:lpstr>
      <vt:lpstr>Facture honoraires d’avocat 390 € HT datée du 26 mai </vt:lpstr>
      <vt:lpstr>Achèvement, le 15 avril, d’une construction, faite par nos soins, estimée à 865 325,00 €. Le terrain ne nous appartient pas.</vt:lpstr>
      <vt:lpstr>Achat d’une tondeuse 780 € TTC le 17 juillet </vt:lpstr>
      <vt:lpstr>Paiement de la facture par virement  à MECA pour 780,00 € le 2 aout 2020 =&gt; Flux économique</vt:lpstr>
      <vt:lpstr>Cas Révis</vt:lpstr>
      <vt:lpstr>Revenus des placements financiers 98 € perçu le 30 octobre </vt:lpstr>
      <vt:lpstr>Frais de carte grise du pick up 650 €  le 1 octobre</vt:lpstr>
      <vt:lpstr>Emprunt bancaire souscrit pour 48 000 € le 15 septembre</vt:lpstr>
      <vt:lpstr>Intérêts courus sur emprunts bancaires 18,88 € le 31 décembre</vt:lpstr>
      <vt:lpstr>Ca révis</vt:lpstr>
      <vt:lpstr>Paiement de l’acompte d‘impôt sur les sociétés le 15 décembre pour 14 653 € </vt:lpstr>
      <vt:lpstr>Provisions pour litiges prud'homme de 38 000 € à comptabiliser le 31 décembre </vt:lpstr>
      <vt:lpstr>Assurances 1 350 € payé au 31/12 mais concerne 2021 (100 %) </vt:lpstr>
      <vt:lpstr>R.R.R à établir de 95 € HT le 31 décembre pour un client, Il sera fait physiquement en 2021  mais concerne 2020,  </vt:lpstr>
      <vt:lpstr>Achat d’un tracteur pour 98 000 € HT le 28 novembre</vt:lpstr>
      <vt:lpstr>Cas Révis</vt:lpstr>
      <vt:lpstr>Achat d’un pick up simple cabine pour 40 000,00 € HT pour effectuer les livraisons. Achat le 1 octobre 2020 </vt:lpstr>
      <vt:lpstr>Vente d’un véhicule de tourisme pour 8 490,00 € TTC en 2020.  </vt:lpstr>
      <vt:lpstr>Présentation PowerPoint</vt:lpstr>
      <vt:lpstr>Merc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mation Février 2021 ATHENA SECURITE</dc:title>
  <dc:creator>christophe CHUECOS-FONT</dc:creator>
  <cp:lastModifiedBy>christophe CHUECOS-FONT</cp:lastModifiedBy>
  <cp:revision>4</cp:revision>
  <dcterms:created xsi:type="dcterms:W3CDTF">2021-02-02T18:32:53Z</dcterms:created>
  <dcterms:modified xsi:type="dcterms:W3CDTF">2021-05-05T12:12:27Z</dcterms:modified>
</cp:coreProperties>
</file>